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02" r:id="rId4"/>
    <p:sldMasterId id="2147484247" r:id="rId5"/>
  </p:sldMasterIdLst>
  <p:notesMasterIdLst>
    <p:notesMasterId r:id="rId7"/>
  </p:notesMasterIdLst>
  <p:sldIdLst>
    <p:sldId id="2147480465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8CCCB2C-00C6-C2BF-FE2F-4A70B8A34430}" name="Aireddy, Santhosh Kumar" initials="SA" userId="S::saaireddy@deloitte.com::d453da9d-4a7c-481b-95d8-e20bb9129104" providerId="AD"/>
  <p188:author id="{01456D42-7C51-ED4B-6A5A-C3F27978F46C}" name="K P, Pradeep" initials="PK" userId="S::prkp@deloitte.com::8e0297e5-1d60-4ee2-bfea-6bc5d098bef0" providerId="AD"/>
  <p188:author id="{9FEC0C43-803D-52AA-42EC-7E0B1CCF5596}" name="Misra, Animesh" initials="MA" userId="S::animisra@deloitte.com::1f82ac2b-d78b-4ec5-bd6a-34d3d3bef593" providerId="AD"/>
  <p188:author id="{C7BC144E-EF23-790C-C28D-337BF5A22632}" name="Damaraju, Phani" initials="PD" userId="S::pdamaraju@deloitte.com::5b2a6c30-fdf1-41b4-812d-91ce3c015cb9" providerId="AD"/>
  <p188:author id="{63AF3D6F-D9D5-B675-C3CD-BA60700B80EC}" name="Ramer, Brittany" initials="RB" userId="S::bramer@deloitte.com::38cd7790-d661-4b09-9418-c11eeaf69787" providerId="AD"/>
  <p188:author id="{676BA49B-FCE1-F37C-97B8-CFC0DEB6A594}" name="Viswanath, Manda" initials="VM" userId="S::manviswanath@deloitte.com::bc56b8a0-69ce-47f3-b12c-8aa0b60fe648" providerId="AD"/>
  <p188:author id="{B76437BB-903E-C386-4A5B-68A7DE24DCA5}" name="Kumar, Rajnish" initials="KR" userId="S::rajnkumar@deloitte.com::dcd8116d-7ee8-4dbf-8f56-038c2219e7ba" providerId="AD"/>
  <p188:author id="{069898DC-F23E-05BF-76F3-01C05FE55BDC}" name="bajjuri, uday" initials="bu" userId="S::buday@deloitte.com::025fb0ba-a4ce-4a23-96ae-073505eee83b" providerId="AD"/>
  <p188:author id="{20BD10F3-C652-1772-8F39-05A04F35F734}" name="Kanagasundaram, Senthil" initials="SK" userId="S::skanagasundaram@deloitte.com::ad0514d2-f5b9-46b6-980a-a8b5153a991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5B629"/>
    <a:srgbClr val="057CB0"/>
    <a:srgbClr val="26890D"/>
    <a:srgbClr val="6FC2B4"/>
    <a:srgbClr val="0E8390"/>
    <a:srgbClr val="43B049"/>
    <a:srgbClr val="DDEFE8"/>
    <a:srgbClr val="232C65"/>
    <a:srgbClr val="7F7F7F"/>
    <a:srgbClr val="E3E3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506DFD-4B25-4139-A22B-6C8A840DF91F}" v="4062" dt="2025-06-15T13:47:44.466"/>
    <p1510:client id="{AE003B93-FD8B-498B-805E-AF57206D0107}" v="656" dt="2025-06-14T14:04:12.7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75196" autoAdjust="0"/>
  </p:normalViewPr>
  <p:slideViewPr>
    <p:cSldViewPr snapToGrid="0">
      <p:cViewPr varScale="1">
        <p:scale>
          <a:sx n="82" d="100"/>
          <a:sy n="82" d="100"/>
        </p:scale>
        <p:origin x="691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Relationship Id="rId14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ardwaj, Shailesh" userId="fcf391a9-9845-4ad1-9d7d-0e9b2b8d1504" providerId="ADAL" clId="{792DDCCD-739D-4F56-A8A0-1518EA2AAC0B}"/>
    <pc:docChg chg="undo custSel addSld modSld sldOrd modSection">
      <pc:chgData name="Bhardwaj, Shailesh" userId="fcf391a9-9845-4ad1-9d7d-0e9b2b8d1504" providerId="ADAL" clId="{792DDCCD-739D-4F56-A8A0-1518EA2AAC0B}" dt="2025-05-07T15:04:46.661" v="566" actId="14100"/>
      <pc:docMkLst>
        <pc:docMk/>
      </pc:docMkLst>
      <pc:sldChg chg="addSp delSp modSp mod ord">
        <pc:chgData name="Bhardwaj, Shailesh" userId="fcf391a9-9845-4ad1-9d7d-0e9b2b8d1504" providerId="ADAL" clId="{792DDCCD-739D-4F56-A8A0-1518EA2AAC0B}" dt="2025-05-07T08:28:24.922" v="409"/>
        <pc:sldMkLst>
          <pc:docMk/>
          <pc:sldMk cId="3313104319" sldId="2147480446"/>
        </pc:sldMkLst>
        <pc:spChg chg="mod">
          <ac:chgData name="Bhardwaj, Shailesh" userId="fcf391a9-9845-4ad1-9d7d-0e9b2b8d1504" providerId="ADAL" clId="{792DDCCD-739D-4F56-A8A0-1518EA2AAC0B}" dt="2025-05-07T08:09:31.733" v="272" actId="20577"/>
          <ac:spMkLst>
            <pc:docMk/>
            <pc:sldMk cId="3313104319" sldId="2147480446"/>
            <ac:spMk id="3" creationId="{83064730-F676-6B95-F25E-8BB9045904F4}"/>
          </ac:spMkLst>
        </pc:spChg>
        <pc:spChg chg="add del">
          <ac:chgData name="Bhardwaj, Shailesh" userId="fcf391a9-9845-4ad1-9d7d-0e9b2b8d1504" providerId="ADAL" clId="{792DDCCD-739D-4F56-A8A0-1518EA2AAC0B}" dt="2025-05-07T08:09:39.937" v="276" actId="478"/>
          <ac:spMkLst>
            <pc:docMk/>
            <pc:sldMk cId="3313104319" sldId="2147480446"/>
            <ac:spMk id="6" creationId="{B0DEFB91-FB0A-690E-D8EF-FA10FED2B905}"/>
          </ac:spMkLst>
        </pc:spChg>
        <pc:spChg chg="add del mod">
          <ac:chgData name="Bhardwaj, Shailesh" userId="fcf391a9-9845-4ad1-9d7d-0e9b2b8d1504" providerId="ADAL" clId="{792DDCCD-739D-4F56-A8A0-1518EA2AAC0B}" dt="2025-05-07T08:09:40.160" v="277" actId="478"/>
          <ac:spMkLst>
            <pc:docMk/>
            <pc:sldMk cId="3313104319" sldId="2147480446"/>
            <ac:spMk id="7" creationId="{56B1BEA1-CCBC-DF31-30B5-448015956424}"/>
          </ac:spMkLst>
        </pc:spChg>
        <pc:spChg chg="add del">
          <ac:chgData name="Bhardwaj, Shailesh" userId="fcf391a9-9845-4ad1-9d7d-0e9b2b8d1504" providerId="ADAL" clId="{792DDCCD-739D-4F56-A8A0-1518EA2AAC0B}" dt="2025-05-07T08:09:40.776" v="278" actId="478"/>
          <ac:spMkLst>
            <pc:docMk/>
            <pc:sldMk cId="3313104319" sldId="2147480446"/>
            <ac:spMk id="9" creationId="{F2A300F8-E791-767F-ADA9-9D9FC7B910F6}"/>
          </ac:spMkLst>
        </pc:spChg>
      </pc:sldChg>
      <pc:sldChg chg="addSp delSp modSp add mod">
        <pc:chgData name="Bhardwaj, Shailesh" userId="fcf391a9-9845-4ad1-9d7d-0e9b2b8d1504" providerId="ADAL" clId="{792DDCCD-739D-4F56-A8A0-1518EA2AAC0B}" dt="2025-05-07T15:04:46.661" v="566" actId="14100"/>
        <pc:sldMkLst>
          <pc:docMk/>
          <pc:sldMk cId="4173951846" sldId="2147480449"/>
        </pc:sldMkLst>
        <pc:spChg chg="mod">
          <ac:chgData name="Bhardwaj, Shailesh" userId="fcf391a9-9845-4ad1-9d7d-0e9b2b8d1504" providerId="ADAL" clId="{792DDCCD-739D-4F56-A8A0-1518EA2AAC0B}" dt="2025-05-07T08:31:34.589" v="413" actId="20577"/>
          <ac:spMkLst>
            <pc:docMk/>
            <pc:sldMk cId="4173951846" sldId="2147480449"/>
            <ac:spMk id="3" creationId="{4F2658E4-84B9-20D7-AB3C-1BA3FB08270E}"/>
          </ac:spMkLst>
        </pc:spChg>
        <pc:spChg chg="add mod">
          <ac:chgData name="Bhardwaj, Shailesh" userId="fcf391a9-9845-4ad1-9d7d-0e9b2b8d1504" providerId="ADAL" clId="{792DDCCD-739D-4F56-A8A0-1518EA2AAC0B}" dt="2025-05-07T15:04:46.661" v="566" actId="14100"/>
          <ac:spMkLst>
            <pc:docMk/>
            <pc:sldMk cId="4173951846" sldId="2147480449"/>
            <ac:spMk id="11" creationId="{B4694D6C-FAE1-FCFA-5BBD-6692A895FE5F}"/>
          </ac:spMkLst>
        </pc:spChg>
        <pc:picChg chg="add mod">
          <ac:chgData name="Bhardwaj, Shailesh" userId="fcf391a9-9845-4ad1-9d7d-0e9b2b8d1504" providerId="ADAL" clId="{792DDCCD-739D-4F56-A8A0-1518EA2AAC0B}" dt="2025-05-07T08:26:35.980" v="399" actId="1076"/>
          <ac:picMkLst>
            <pc:docMk/>
            <pc:sldMk cId="4173951846" sldId="2147480449"/>
            <ac:picMk id="18" creationId="{33968416-7A3E-9F6E-0DC5-780F761F3EA4}"/>
          </ac:picMkLst>
        </pc:picChg>
        <pc:picChg chg="add mod ord">
          <ac:chgData name="Bhardwaj, Shailesh" userId="fcf391a9-9845-4ad1-9d7d-0e9b2b8d1504" providerId="ADAL" clId="{792DDCCD-739D-4F56-A8A0-1518EA2AAC0B}" dt="2025-05-07T08:27:10.744" v="407" actId="1076"/>
          <ac:picMkLst>
            <pc:docMk/>
            <pc:sldMk cId="4173951846" sldId="2147480449"/>
            <ac:picMk id="22" creationId="{BE8DAEAC-57A8-F037-482C-AB0B744AB1A1}"/>
          </ac:picMkLst>
        </pc:picChg>
      </pc:sldChg>
      <pc:sldChg chg="addSp delSp modSp add mod modClrScheme chgLayout">
        <pc:chgData name="Bhardwaj, Shailesh" userId="fcf391a9-9845-4ad1-9d7d-0e9b2b8d1504" providerId="ADAL" clId="{792DDCCD-739D-4F56-A8A0-1518EA2AAC0B}" dt="2025-05-07T08:11:14.404" v="307" actId="1076"/>
        <pc:sldMkLst>
          <pc:docMk/>
          <pc:sldMk cId="444801388" sldId="2147480452"/>
        </pc:sldMkLst>
        <pc:spChg chg="ord">
          <ac:chgData name="Bhardwaj, Shailesh" userId="fcf391a9-9845-4ad1-9d7d-0e9b2b8d1504" providerId="ADAL" clId="{792DDCCD-739D-4F56-A8A0-1518EA2AAC0B}" dt="2025-05-07T07:55:27.640" v="171" actId="26606"/>
          <ac:spMkLst>
            <pc:docMk/>
            <pc:sldMk cId="444801388" sldId="2147480452"/>
            <ac:spMk id="2" creationId="{99DFDD80-4D5F-2878-DE7F-C2360BA3F76E}"/>
          </ac:spMkLst>
        </pc:spChg>
        <pc:spChg chg="mod ord">
          <ac:chgData name="Bhardwaj, Shailesh" userId="fcf391a9-9845-4ad1-9d7d-0e9b2b8d1504" providerId="ADAL" clId="{792DDCCD-739D-4F56-A8A0-1518EA2AAC0B}" dt="2025-05-07T07:55:44.327" v="192" actId="113"/>
          <ac:spMkLst>
            <pc:docMk/>
            <pc:sldMk cId="444801388" sldId="2147480452"/>
            <ac:spMk id="3" creationId="{E83A9019-7B3A-8368-B87F-BF3EB693E5FB}"/>
          </ac:spMkLst>
        </pc:spChg>
        <pc:picChg chg="add mod">
          <ac:chgData name="Bhardwaj, Shailesh" userId="fcf391a9-9845-4ad1-9d7d-0e9b2b8d1504" providerId="ADAL" clId="{792DDCCD-739D-4F56-A8A0-1518EA2AAC0B}" dt="2025-05-07T08:11:14.404" v="307" actId="1076"/>
          <ac:picMkLst>
            <pc:docMk/>
            <pc:sldMk cId="444801388" sldId="2147480452"/>
            <ac:picMk id="5" creationId="{349B6738-1C5F-E709-13CF-0C07F3AA78A6}"/>
          </ac:picMkLst>
        </pc:picChg>
      </pc:sldChg>
      <pc:sldChg chg="addSp delSp modSp add mod ord">
        <pc:chgData name="Bhardwaj, Shailesh" userId="fcf391a9-9845-4ad1-9d7d-0e9b2b8d1504" providerId="ADAL" clId="{792DDCCD-739D-4F56-A8A0-1518EA2AAC0B}" dt="2025-05-07T08:10:58.183" v="305" actId="14100"/>
        <pc:sldMkLst>
          <pc:docMk/>
          <pc:sldMk cId="1978164752" sldId="2147480454"/>
        </pc:sldMkLst>
        <pc:spChg chg="mod">
          <ac:chgData name="Bhardwaj, Shailesh" userId="fcf391a9-9845-4ad1-9d7d-0e9b2b8d1504" providerId="ADAL" clId="{792DDCCD-739D-4F56-A8A0-1518EA2AAC0B}" dt="2025-05-07T08:10:01.109" v="294" actId="20577"/>
          <ac:spMkLst>
            <pc:docMk/>
            <pc:sldMk cId="1978164752" sldId="2147480454"/>
            <ac:spMk id="3" creationId="{E4061C3F-0C75-7902-5A4F-0D866F114F70}"/>
          </ac:spMkLst>
        </pc:spChg>
        <pc:picChg chg="add mod">
          <ac:chgData name="Bhardwaj, Shailesh" userId="fcf391a9-9845-4ad1-9d7d-0e9b2b8d1504" providerId="ADAL" clId="{792DDCCD-739D-4F56-A8A0-1518EA2AAC0B}" dt="2025-05-07T08:10:58.183" v="305" actId="14100"/>
          <ac:picMkLst>
            <pc:docMk/>
            <pc:sldMk cId="1978164752" sldId="2147480454"/>
            <ac:picMk id="6" creationId="{0078D5E9-C610-FF62-E1B4-B8DAE00148FE}"/>
          </ac:picMkLst>
        </pc:picChg>
      </pc:sldChg>
      <pc:sldChg chg="add ord">
        <pc:chgData name="Bhardwaj, Shailesh" userId="fcf391a9-9845-4ad1-9d7d-0e9b2b8d1504" providerId="ADAL" clId="{792DDCCD-739D-4F56-A8A0-1518EA2AAC0B}" dt="2025-05-07T08:09:46.464" v="281"/>
        <pc:sldMkLst>
          <pc:docMk/>
          <pc:sldMk cId="2533553394" sldId="2147480455"/>
        </pc:sldMkLst>
      </pc:sldChg>
      <pc:sldChg chg="addSp delSp modSp add mod ord">
        <pc:chgData name="Bhardwaj, Shailesh" userId="fcf391a9-9845-4ad1-9d7d-0e9b2b8d1504" providerId="ADAL" clId="{792DDCCD-739D-4F56-A8A0-1518EA2AAC0B}" dt="2025-05-07T08:20:10.031" v="364" actId="20577"/>
        <pc:sldMkLst>
          <pc:docMk/>
          <pc:sldMk cId="3225282615" sldId="2147480456"/>
        </pc:sldMkLst>
        <pc:spChg chg="mod">
          <ac:chgData name="Bhardwaj, Shailesh" userId="fcf391a9-9845-4ad1-9d7d-0e9b2b8d1504" providerId="ADAL" clId="{792DDCCD-739D-4F56-A8A0-1518EA2AAC0B}" dt="2025-05-07T08:20:10.031" v="364" actId="20577"/>
          <ac:spMkLst>
            <pc:docMk/>
            <pc:sldMk cId="3225282615" sldId="2147480456"/>
            <ac:spMk id="3" creationId="{CE4041F7-191E-1B3D-FC49-ADA2779D004A}"/>
          </ac:spMkLst>
        </pc:spChg>
        <pc:spChg chg="add mod">
          <ac:chgData name="Bhardwaj, Shailesh" userId="fcf391a9-9845-4ad1-9d7d-0e9b2b8d1504" providerId="ADAL" clId="{792DDCCD-739D-4F56-A8A0-1518EA2AAC0B}" dt="2025-05-07T08:19:57.980" v="348" actId="6549"/>
          <ac:spMkLst>
            <pc:docMk/>
            <pc:sldMk cId="3225282615" sldId="2147480456"/>
            <ac:spMk id="7" creationId="{F73F568D-EDDF-085F-542D-50370BF6CC4A}"/>
          </ac:spMkLst>
        </pc:spChg>
        <pc:picChg chg="add mod">
          <ac:chgData name="Bhardwaj, Shailesh" userId="fcf391a9-9845-4ad1-9d7d-0e9b2b8d1504" providerId="ADAL" clId="{792DDCCD-739D-4F56-A8A0-1518EA2AAC0B}" dt="2025-05-07T08:19:44.816" v="345" actId="1076"/>
          <ac:picMkLst>
            <pc:docMk/>
            <pc:sldMk cId="3225282615" sldId="2147480456"/>
            <ac:picMk id="5" creationId="{67E4CD7B-8DBA-F70B-8797-82BA00B81A14}"/>
          </ac:picMkLst>
        </pc:picChg>
      </pc:sldChg>
    </pc:docChg>
  </pc:docChgLst>
  <pc:docChgLst>
    <pc:chgData name="Kumar, Rajnish" userId="S::rajnkumar@deloitte.com::dcd8116d-7ee8-4dbf-8f56-038c2219e7ba" providerId="AD" clId="Web-{20555915-23EC-9292-1DDC-95546B670702}"/>
    <pc:docChg chg="addSld modSection">
      <pc:chgData name="Kumar, Rajnish" userId="S::rajnkumar@deloitte.com::dcd8116d-7ee8-4dbf-8f56-038c2219e7ba" providerId="AD" clId="Web-{20555915-23EC-9292-1DDC-95546B670702}" dt="2025-06-08T15:32:38.627" v="3"/>
      <pc:docMkLst>
        <pc:docMk/>
      </pc:docMkLst>
      <pc:sldChg chg="add">
        <pc:chgData name="Kumar, Rajnish" userId="S::rajnkumar@deloitte.com::dcd8116d-7ee8-4dbf-8f56-038c2219e7ba" providerId="AD" clId="Web-{20555915-23EC-9292-1DDC-95546B670702}" dt="2025-06-08T15:32:38.565" v="0"/>
        <pc:sldMkLst>
          <pc:docMk/>
          <pc:sldMk cId="551770475" sldId="2147480502"/>
        </pc:sldMkLst>
      </pc:sldChg>
      <pc:sldChg chg="add">
        <pc:chgData name="Kumar, Rajnish" userId="S::rajnkumar@deloitte.com::dcd8116d-7ee8-4dbf-8f56-038c2219e7ba" providerId="AD" clId="Web-{20555915-23EC-9292-1DDC-95546B670702}" dt="2025-06-08T15:32:38.580" v="1"/>
        <pc:sldMkLst>
          <pc:docMk/>
          <pc:sldMk cId="3401438013" sldId="2147480503"/>
        </pc:sldMkLst>
      </pc:sldChg>
      <pc:sldChg chg="add">
        <pc:chgData name="Kumar, Rajnish" userId="S::rajnkumar@deloitte.com::dcd8116d-7ee8-4dbf-8f56-038c2219e7ba" providerId="AD" clId="Web-{20555915-23EC-9292-1DDC-95546B670702}" dt="2025-06-08T15:32:38.612" v="2"/>
        <pc:sldMkLst>
          <pc:docMk/>
          <pc:sldMk cId="3624343574" sldId="2147480504"/>
        </pc:sldMkLst>
      </pc:sldChg>
      <pc:sldChg chg="add">
        <pc:chgData name="Kumar, Rajnish" userId="S::rajnkumar@deloitte.com::dcd8116d-7ee8-4dbf-8f56-038c2219e7ba" providerId="AD" clId="Web-{20555915-23EC-9292-1DDC-95546B670702}" dt="2025-06-08T15:32:38.627" v="3"/>
        <pc:sldMkLst>
          <pc:docMk/>
          <pc:sldMk cId="1334608779" sldId="2147480505"/>
        </pc:sldMkLst>
      </pc:sldChg>
    </pc:docChg>
  </pc:docChgLst>
  <pc:docChgLst>
    <pc:chgData name="Kumar, Rajnish" userId="S::rajnkumar@deloitte.com::dcd8116d-7ee8-4dbf-8f56-038c2219e7ba" providerId="AD" clId="Web-{19EEF9AA-5809-0DE9-BC3B-07846F4B5EA3}"/>
    <pc:docChg chg="addSld modSection">
      <pc:chgData name="Kumar, Rajnish" userId="S::rajnkumar@deloitte.com::dcd8116d-7ee8-4dbf-8f56-038c2219e7ba" providerId="AD" clId="Web-{19EEF9AA-5809-0DE9-BC3B-07846F4B5EA3}" dt="2025-06-07T11:04:44.626" v="3"/>
      <pc:docMkLst>
        <pc:docMk/>
      </pc:docMkLst>
      <pc:sldChg chg="add">
        <pc:chgData name="Kumar, Rajnish" userId="S::rajnkumar@deloitte.com::dcd8116d-7ee8-4dbf-8f56-038c2219e7ba" providerId="AD" clId="Web-{19EEF9AA-5809-0DE9-BC3B-07846F4B5EA3}" dt="2025-06-07T11:04:44.563" v="0"/>
        <pc:sldMkLst>
          <pc:docMk/>
          <pc:sldMk cId="1290625696" sldId="2147480496"/>
        </pc:sldMkLst>
      </pc:sldChg>
      <pc:sldChg chg="add">
        <pc:chgData name="Kumar, Rajnish" userId="S::rajnkumar@deloitte.com::dcd8116d-7ee8-4dbf-8f56-038c2219e7ba" providerId="AD" clId="Web-{19EEF9AA-5809-0DE9-BC3B-07846F4B5EA3}" dt="2025-06-07T11:04:44.579" v="1"/>
        <pc:sldMkLst>
          <pc:docMk/>
          <pc:sldMk cId="3196261279" sldId="2147480497"/>
        </pc:sldMkLst>
      </pc:sldChg>
      <pc:sldChg chg="add">
        <pc:chgData name="Kumar, Rajnish" userId="S::rajnkumar@deloitte.com::dcd8116d-7ee8-4dbf-8f56-038c2219e7ba" providerId="AD" clId="Web-{19EEF9AA-5809-0DE9-BC3B-07846F4B5EA3}" dt="2025-06-07T11:04:44.610" v="2"/>
        <pc:sldMkLst>
          <pc:docMk/>
          <pc:sldMk cId="1239195161" sldId="2147480498"/>
        </pc:sldMkLst>
      </pc:sldChg>
      <pc:sldChg chg="add">
        <pc:chgData name="Kumar, Rajnish" userId="S::rajnkumar@deloitte.com::dcd8116d-7ee8-4dbf-8f56-038c2219e7ba" providerId="AD" clId="Web-{19EEF9AA-5809-0DE9-BC3B-07846F4B5EA3}" dt="2025-06-07T11:04:44.626" v="3"/>
        <pc:sldMkLst>
          <pc:docMk/>
          <pc:sldMk cId="4203979459" sldId="2147480499"/>
        </pc:sldMkLst>
      </pc:sldChg>
    </pc:docChg>
  </pc:docChgLst>
  <pc:docChgLst>
    <pc:chgData name="Singh, Ram Kalpnath" userId="c14bfaac-8bf9-4c55-8a76-f3e4d9d02e19" providerId="ADAL" clId="{44319262-99A5-4048-BC35-3D268C5DED99}"/>
    <pc:docChg chg="undo custSel modSld">
      <pc:chgData name="Singh, Ram Kalpnath" userId="c14bfaac-8bf9-4c55-8a76-f3e4d9d02e19" providerId="ADAL" clId="{44319262-99A5-4048-BC35-3D268C5DED99}" dt="2025-06-12T08:59:36.586" v="494" actId="20577"/>
      <pc:docMkLst>
        <pc:docMk/>
      </pc:docMkLst>
      <pc:sldChg chg="modSp mod modNotesTx">
        <pc:chgData name="Singh, Ram Kalpnath" userId="c14bfaac-8bf9-4c55-8a76-f3e4d9d02e19" providerId="ADAL" clId="{44319262-99A5-4048-BC35-3D268C5DED99}" dt="2025-06-11T06:30:44.959" v="154" actId="20577"/>
        <pc:sldMkLst>
          <pc:docMk/>
          <pc:sldMk cId="3180382942" sldId="2147480477"/>
        </pc:sldMkLst>
        <pc:spChg chg="mod">
          <ac:chgData name="Singh, Ram Kalpnath" userId="c14bfaac-8bf9-4c55-8a76-f3e4d9d02e19" providerId="ADAL" clId="{44319262-99A5-4048-BC35-3D268C5DED99}" dt="2025-06-11T06:24:02.158" v="69" actId="20577"/>
          <ac:spMkLst>
            <pc:docMk/>
            <pc:sldMk cId="3180382942" sldId="2147480477"/>
            <ac:spMk id="5" creationId="{7646DAAB-53F2-FFD5-3673-0CE674219B3D}"/>
          </ac:spMkLst>
        </pc:spChg>
      </pc:sldChg>
      <pc:sldChg chg="modNotesTx">
        <pc:chgData name="Singh, Ram Kalpnath" userId="c14bfaac-8bf9-4c55-8a76-f3e4d9d02e19" providerId="ADAL" clId="{44319262-99A5-4048-BC35-3D268C5DED99}" dt="2025-06-11T06:35:18.570" v="440" actId="20577"/>
        <pc:sldMkLst>
          <pc:docMk/>
          <pc:sldMk cId="885171934" sldId="2147480478"/>
        </pc:sldMkLst>
      </pc:sldChg>
      <pc:sldChg chg="modSp mod">
        <pc:chgData name="Singh, Ram Kalpnath" userId="c14bfaac-8bf9-4c55-8a76-f3e4d9d02e19" providerId="ADAL" clId="{44319262-99A5-4048-BC35-3D268C5DED99}" dt="2025-06-12T08:55:25.583" v="442" actId="20577"/>
        <pc:sldMkLst>
          <pc:docMk/>
          <pc:sldMk cId="1290625696" sldId="2147480496"/>
        </pc:sldMkLst>
        <pc:spChg chg="mod">
          <ac:chgData name="Singh, Ram Kalpnath" userId="c14bfaac-8bf9-4c55-8a76-f3e4d9d02e19" providerId="ADAL" clId="{44319262-99A5-4048-BC35-3D268C5DED99}" dt="2025-06-12T08:55:25.583" v="442" actId="20577"/>
          <ac:spMkLst>
            <pc:docMk/>
            <pc:sldMk cId="1290625696" sldId="2147480496"/>
            <ac:spMk id="3" creationId="{0DE56BEE-58BB-8674-DD66-78B2B140D7E5}"/>
          </ac:spMkLst>
        </pc:spChg>
      </pc:sldChg>
      <pc:sldChg chg="modSp mod">
        <pc:chgData name="Singh, Ram Kalpnath" userId="c14bfaac-8bf9-4c55-8a76-f3e4d9d02e19" providerId="ADAL" clId="{44319262-99A5-4048-BC35-3D268C5DED99}" dt="2025-06-12T08:55:30.770" v="444" actId="20577"/>
        <pc:sldMkLst>
          <pc:docMk/>
          <pc:sldMk cId="3196261279" sldId="2147480497"/>
        </pc:sldMkLst>
        <pc:spChg chg="mod">
          <ac:chgData name="Singh, Ram Kalpnath" userId="c14bfaac-8bf9-4c55-8a76-f3e4d9d02e19" providerId="ADAL" clId="{44319262-99A5-4048-BC35-3D268C5DED99}" dt="2025-06-12T08:55:30.770" v="444" actId="20577"/>
          <ac:spMkLst>
            <pc:docMk/>
            <pc:sldMk cId="3196261279" sldId="2147480497"/>
            <ac:spMk id="3" creationId="{B1A82E36-F316-8E51-8307-2ACB6321360D}"/>
          </ac:spMkLst>
        </pc:spChg>
      </pc:sldChg>
      <pc:sldChg chg="modSp mod">
        <pc:chgData name="Singh, Ram Kalpnath" userId="c14bfaac-8bf9-4c55-8a76-f3e4d9d02e19" providerId="ADAL" clId="{44319262-99A5-4048-BC35-3D268C5DED99}" dt="2025-06-12T08:55:37.526" v="448" actId="6549"/>
        <pc:sldMkLst>
          <pc:docMk/>
          <pc:sldMk cId="1239195161" sldId="2147480498"/>
        </pc:sldMkLst>
        <pc:spChg chg="mod">
          <ac:chgData name="Singh, Ram Kalpnath" userId="c14bfaac-8bf9-4c55-8a76-f3e4d9d02e19" providerId="ADAL" clId="{44319262-99A5-4048-BC35-3D268C5DED99}" dt="2025-06-12T08:55:37.526" v="448" actId="6549"/>
          <ac:spMkLst>
            <pc:docMk/>
            <pc:sldMk cId="1239195161" sldId="2147480498"/>
            <ac:spMk id="3" creationId="{5403D366-71D8-390D-2D8F-835F7B2A2D0C}"/>
          </ac:spMkLst>
        </pc:spChg>
      </pc:sldChg>
      <pc:sldChg chg="modSp mod">
        <pc:chgData name="Singh, Ram Kalpnath" userId="c14bfaac-8bf9-4c55-8a76-f3e4d9d02e19" providerId="ADAL" clId="{44319262-99A5-4048-BC35-3D268C5DED99}" dt="2025-06-12T08:58:48.079" v="470" actId="20577"/>
        <pc:sldMkLst>
          <pc:docMk/>
          <pc:sldMk cId="4203979459" sldId="2147480499"/>
        </pc:sldMkLst>
        <pc:spChg chg="mod">
          <ac:chgData name="Singh, Ram Kalpnath" userId="c14bfaac-8bf9-4c55-8a76-f3e4d9d02e19" providerId="ADAL" clId="{44319262-99A5-4048-BC35-3D268C5DED99}" dt="2025-06-12T08:58:48.079" v="470" actId="20577"/>
          <ac:spMkLst>
            <pc:docMk/>
            <pc:sldMk cId="4203979459" sldId="2147480499"/>
            <ac:spMk id="3" creationId="{A64908F4-091E-7BE8-87B1-7AB30A3FE54F}"/>
          </ac:spMkLst>
        </pc:spChg>
      </pc:sldChg>
      <pc:sldChg chg="modSp mod">
        <pc:chgData name="Singh, Ram Kalpnath" userId="c14bfaac-8bf9-4c55-8a76-f3e4d9d02e19" providerId="ADAL" clId="{44319262-99A5-4048-BC35-3D268C5DED99}" dt="2025-06-12T08:58:56.556" v="474" actId="20577"/>
        <pc:sldMkLst>
          <pc:docMk/>
          <pc:sldMk cId="1297285323" sldId="2147480500"/>
        </pc:sldMkLst>
        <pc:spChg chg="mod">
          <ac:chgData name="Singh, Ram Kalpnath" userId="c14bfaac-8bf9-4c55-8a76-f3e4d9d02e19" providerId="ADAL" clId="{44319262-99A5-4048-BC35-3D268C5DED99}" dt="2025-06-12T08:58:56.556" v="474" actId="20577"/>
          <ac:spMkLst>
            <pc:docMk/>
            <pc:sldMk cId="1297285323" sldId="2147480500"/>
            <ac:spMk id="3" creationId="{08DA2968-3E1E-128A-7BD1-787DE114BF6A}"/>
          </ac:spMkLst>
        </pc:spChg>
      </pc:sldChg>
      <pc:sldChg chg="modSp mod">
        <pc:chgData name="Singh, Ram Kalpnath" userId="c14bfaac-8bf9-4c55-8a76-f3e4d9d02e19" providerId="ADAL" clId="{44319262-99A5-4048-BC35-3D268C5DED99}" dt="2025-06-12T08:59:02.529" v="476" actId="20577"/>
        <pc:sldMkLst>
          <pc:docMk/>
          <pc:sldMk cId="3454177366" sldId="2147480501"/>
        </pc:sldMkLst>
        <pc:spChg chg="mod">
          <ac:chgData name="Singh, Ram Kalpnath" userId="c14bfaac-8bf9-4c55-8a76-f3e4d9d02e19" providerId="ADAL" clId="{44319262-99A5-4048-BC35-3D268C5DED99}" dt="2025-06-12T08:59:02.529" v="476" actId="20577"/>
          <ac:spMkLst>
            <pc:docMk/>
            <pc:sldMk cId="3454177366" sldId="2147480501"/>
            <ac:spMk id="3" creationId="{65E7AE13-19B7-E575-CD4A-B8BCC8B3CD73}"/>
          </ac:spMkLst>
        </pc:spChg>
      </pc:sldChg>
      <pc:sldChg chg="modSp mod">
        <pc:chgData name="Singh, Ram Kalpnath" userId="c14bfaac-8bf9-4c55-8a76-f3e4d9d02e19" providerId="ADAL" clId="{44319262-99A5-4048-BC35-3D268C5DED99}" dt="2025-06-12T08:59:09.947" v="480" actId="20577"/>
        <pc:sldMkLst>
          <pc:docMk/>
          <pc:sldMk cId="551770475" sldId="2147480502"/>
        </pc:sldMkLst>
        <pc:spChg chg="mod">
          <ac:chgData name="Singh, Ram Kalpnath" userId="c14bfaac-8bf9-4c55-8a76-f3e4d9d02e19" providerId="ADAL" clId="{44319262-99A5-4048-BC35-3D268C5DED99}" dt="2025-06-12T08:59:09.947" v="480" actId="20577"/>
          <ac:spMkLst>
            <pc:docMk/>
            <pc:sldMk cId="551770475" sldId="2147480502"/>
            <ac:spMk id="3" creationId="{8CA79583-D726-FDAE-3FC0-6F0C6F32B62A}"/>
          </ac:spMkLst>
        </pc:spChg>
      </pc:sldChg>
      <pc:sldChg chg="modSp mod">
        <pc:chgData name="Singh, Ram Kalpnath" userId="c14bfaac-8bf9-4c55-8a76-f3e4d9d02e19" providerId="ADAL" clId="{44319262-99A5-4048-BC35-3D268C5DED99}" dt="2025-06-12T08:59:16.587" v="484" actId="20577"/>
        <pc:sldMkLst>
          <pc:docMk/>
          <pc:sldMk cId="3401438013" sldId="2147480503"/>
        </pc:sldMkLst>
        <pc:spChg chg="mod">
          <ac:chgData name="Singh, Ram Kalpnath" userId="c14bfaac-8bf9-4c55-8a76-f3e4d9d02e19" providerId="ADAL" clId="{44319262-99A5-4048-BC35-3D268C5DED99}" dt="2025-06-12T08:59:16.587" v="484" actId="20577"/>
          <ac:spMkLst>
            <pc:docMk/>
            <pc:sldMk cId="3401438013" sldId="2147480503"/>
            <ac:spMk id="3" creationId="{1DDCF19A-D9ED-ECA2-1923-FD054291235B}"/>
          </ac:spMkLst>
        </pc:spChg>
      </pc:sldChg>
      <pc:sldChg chg="modSp mod">
        <pc:chgData name="Singh, Ram Kalpnath" userId="c14bfaac-8bf9-4c55-8a76-f3e4d9d02e19" providerId="ADAL" clId="{44319262-99A5-4048-BC35-3D268C5DED99}" dt="2025-06-12T08:59:23.279" v="488" actId="20577"/>
        <pc:sldMkLst>
          <pc:docMk/>
          <pc:sldMk cId="3624343574" sldId="2147480504"/>
        </pc:sldMkLst>
        <pc:spChg chg="mod">
          <ac:chgData name="Singh, Ram Kalpnath" userId="c14bfaac-8bf9-4c55-8a76-f3e4d9d02e19" providerId="ADAL" clId="{44319262-99A5-4048-BC35-3D268C5DED99}" dt="2025-06-12T08:59:23.279" v="488" actId="20577"/>
          <ac:spMkLst>
            <pc:docMk/>
            <pc:sldMk cId="3624343574" sldId="2147480504"/>
            <ac:spMk id="3" creationId="{5E3F836B-27FC-C15B-1317-E08DC3D27908}"/>
          </ac:spMkLst>
        </pc:spChg>
      </pc:sldChg>
      <pc:sldChg chg="modSp mod">
        <pc:chgData name="Singh, Ram Kalpnath" userId="c14bfaac-8bf9-4c55-8a76-f3e4d9d02e19" providerId="ADAL" clId="{44319262-99A5-4048-BC35-3D268C5DED99}" dt="2025-06-12T08:59:30.197" v="492" actId="20577"/>
        <pc:sldMkLst>
          <pc:docMk/>
          <pc:sldMk cId="1334608779" sldId="2147480505"/>
        </pc:sldMkLst>
        <pc:spChg chg="mod">
          <ac:chgData name="Singh, Ram Kalpnath" userId="c14bfaac-8bf9-4c55-8a76-f3e4d9d02e19" providerId="ADAL" clId="{44319262-99A5-4048-BC35-3D268C5DED99}" dt="2025-06-12T08:59:30.197" v="492" actId="20577"/>
          <ac:spMkLst>
            <pc:docMk/>
            <pc:sldMk cId="1334608779" sldId="2147480505"/>
            <ac:spMk id="3" creationId="{B1BF5C9A-1D0E-9C70-8CBA-17A486EBE0AD}"/>
          </ac:spMkLst>
        </pc:spChg>
      </pc:sldChg>
      <pc:sldChg chg="modSp mod">
        <pc:chgData name="Singh, Ram Kalpnath" userId="c14bfaac-8bf9-4c55-8a76-f3e4d9d02e19" providerId="ADAL" clId="{44319262-99A5-4048-BC35-3D268C5DED99}" dt="2025-06-12T08:59:36.586" v="494" actId="20577"/>
        <pc:sldMkLst>
          <pc:docMk/>
          <pc:sldMk cId="2274950264" sldId="2147480506"/>
        </pc:sldMkLst>
        <pc:spChg chg="mod">
          <ac:chgData name="Singh, Ram Kalpnath" userId="c14bfaac-8bf9-4c55-8a76-f3e4d9d02e19" providerId="ADAL" clId="{44319262-99A5-4048-BC35-3D268C5DED99}" dt="2025-06-12T08:59:36.586" v="494" actId="20577"/>
          <ac:spMkLst>
            <pc:docMk/>
            <pc:sldMk cId="2274950264" sldId="2147480506"/>
            <ac:spMk id="3" creationId="{B111A3FF-EF71-DEF8-0FA5-72FAD72AB455}"/>
          </ac:spMkLst>
        </pc:spChg>
      </pc:sldChg>
    </pc:docChg>
  </pc:docChgLst>
  <pc:docChgLst>
    <pc:chgData name="bajjuri, uday" userId="S::buday@deloitte.com::025fb0ba-a4ce-4a23-96ae-073505eee83b" providerId="AD" clId="Web-{F6B8F906-9FAF-BF3E-C164-E222738DDDE4}"/>
    <pc:docChg chg="addSld delSld modSld modSection">
      <pc:chgData name="bajjuri, uday" userId="S::buday@deloitte.com::025fb0ba-a4ce-4a23-96ae-073505eee83b" providerId="AD" clId="Web-{F6B8F906-9FAF-BF3E-C164-E222738DDDE4}" dt="2025-06-05T11:48:08.701" v="240" actId="20577"/>
      <pc:docMkLst>
        <pc:docMk/>
      </pc:docMkLst>
      <pc:sldChg chg="modSp add replId">
        <pc:chgData name="bajjuri, uday" userId="S::buday@deloitte.com::025fb0ba-a4ce-4a23-96ae-073505eee83b" providerId="AD" clId="Web-{F6B8F906-9FAF-BF3E-C164-E222738DDDE4}" dt="2025-06-05T11:48:08.701" v="240" actId="20577"/>
        <pc:sldMkLst>
          <pc:docMk/>
          <pc:sldMk cId="546545660" sldId="2147480469"/>
        </pc:sldMkLst>
        <pc:spChg chg="mod">
          <ac:chgData name="bajjuri, uday" userId="S::buday@deloitte.com::025fb0ba-a4ce-4a23-96ae-073505eee83b" providerId="AD" clId="Web-{F6B8F906-9FAF-BF3E-C164-E222738DDDE4}" dt="2025-06-05T11:19:26.669" v="19" actId="20577"/>
          <ac:spMkLst>
            <pc:docMk/>
            <pc:sldMk cId="546545660" sldId="2147480469"/>
            <ac:spMk id="3" creationId="{0776A742-ED51-E6F5-3285-DC78BC764C31}"/>
          </ac:spMkLst>
        </pc:spChg>
        <pc:spChg chg="mod">
          <ac:chgData name="bajjuri, uday" userId="S::buday@deloitte.com::025fb0ba-a4ce-4a23-96ae-073505eee83b" providerId="AD" clId="Web-{F6B8F906-9FAF-BF3E-C164-E222738DDDE4}" dt="2025-06-05T11:48:08.701" v="240" actId="20577"/>
          <ac:spMkLst>
            <pc:docMk/>
            <pc:sldMk cId="546545660" sldId="2147480469"/>
            <ac:spMk id="4" creationId="{7AE65DB9-A4EB-6B6E-707D-C817255EDDE5}"/>
          </ac:spMkLst>
        </pc:spChg>
        <pc:spChg chg="mod">
          <ac:chgData name="bajjuri, uday" userId="S::buday@deloitte.com::025fb0ba-a4ce-4a23-96ae-073505eee83b" providerId="AD" clId="Web-{F6B8F906-9FAF-BF3E-C164-E222738DDDE4}" dt="2025-06-05T11:36:47.317" v="69" actId="20577"/>
          <ac:spMkLst>
            <pc:docMk/>
            <pc:sldMk cId="546545660" sldId="2147480469"/>
            <ac:spMk id="5" creationId="{7646DAAB-53F2-FFD5-3673-0CE674219B3D}"/>
          </ac:spMkLst>
        </pc:spChg>
        <pc:spChg chg="mod">
          <ac:chgData name="bajjuri, uday" userId="S::buday@deloitte.com::025fb0ba-a4ce-4a23-96ae-073505eee83b" providerId="AD" clId="Web-{F6B8F906-9FAF-BF3E-C164-E222738DDDE4}" dt="2025-06-05T11:44:25.584" v="185" actId="1076"/>
          <ac:spMkLst>
            <pc:docMk/>
            <pc:sldMk cId="546545660" sldId="2147480469"/>
            <ac:spMk id="6" creationId="{BFB94195-9FCD-6EA1-535D-EDA0833E3710}"/>
          </ac:spMkLst>
        </pc:spChg>
        <pc:spChg chg="mod">
          <ac:chgData name="bajjuri, uday" userId="S::buday@deloitte.com::025fb0ba-a4ce-4a23-96ae-073505eee83b" providerId="AD" clId="Web-{F6B8F906-9FAF-BF3E-C164-E222738DDDE4}" dt="2025-06-05T11:33:15.278" v="54" actId="20577"/>
          <ac:spMkLst>
            <pc:docMk/>
            <pc:sldMk cId="546545660" sldId="2147480469"/>
            <ac:spMk id="8" creationId="{B55FEE8F-1331-56C1-9BBA-8FDB4ED6AA79}"/>
          </ac:spMkLst>
        </pc:spChg>
        <pc:spChg chg="mod">
          <ac:chgData name="bajjuri, uday" userId="S::buday@deloitte.com::025fb0ba-a4ce-4a23-96ae-073505eee83b" providerId="AD" clId="Web-{F6B8F906-9FAF-BF3E-C164-E222738DDDE4}" dt="2025-06-05T11:29:20.081" v="43" actId="20577"/>
          <ac:spMkLst>
            <pc:docMk/>
            <pc:sldMk cId="546545660" sldId="2147480469"/>
            <ac:spMk id="9" creationId="{836B00D9-77ED-78EB-1051-52BEA7CA2B7D}"/>
          </ac:spMkLst>
        </pc:spChg>
      </pc:sldChg>
      <pc:sldChg chg="new del">
        <pc:chgData name="bajjuri, uday" userId="S::buday@deloitte.com::025fb0ba-a4ce-4a23-96ae-073505eee83b" providerId="AD" clId="Web-{F6B8F906-9FAF-BF3E-C164-E222738DDDE4}" dt="2025-06-05T11:18:38.776" v="1"/>
        <pc:sldMkLst>
          <pc:docMk/>
          <pc:sldMk cId="3054051811" sldId="2147480469"/>
        </pc:sldMkLst>
      </pc:sldChg>
    </pc:docChg>
  </pc:docChgLst>
  <pc:docChgLst>
    <pc:chgData name="Singh, Ram Kalpnath" userId="S::ramksingh@deloitte.com::c14bfaac-8bf9-4c55-8a76-f3e4d9d02e19" providerId="AD" clId="Web-{5A19769F-D275-7961-20DC-8266747A03B3}"/>
    <pc:docChg chg="addSld modSld modSection">
      <pc:chgData name="Singh, Ram Kalpnath" userId="S::ramksingh@deloitte.com::c14bfaac-8bf9-4c55-8a76-f3e4d9d02e19" providerId="AD" clId="Web-{5A19769F-D275-7961-20DC-8266747A03B3}" dt="2025-06-06T13:13:30.941" v="32" actId="20577"/>
      <pc:docMkLst>
        <pc:docMk/>
      </pc:docMkLst>
      <pc:sldChg chg="addSp delSp modSp">
        <pc:chgData name="Singh, Ram Kalpnath" userId="S::ramksingh@deloitte.com::c14bfaac-8bf9-4c55-8a76-f3e4d9d02e19" providerId="AD" clId="Web-{5A19769F-D275-7961-20DC-8266747A03B3}" dt="2025-06-06T13:08:41.187" v="3" actId="1076"/>
        <pc:sldMkLst>
          <pc:docMk/>
          <pc:sldMk cId="1818084077" sldId="2147480479"/>
        </pc:sldMkLst>
        <pc:spChg chg="add mod">
          <ac:chgData name="Singh, Ram Kalpnath" userId="S::ramksingh@deloitte.com::c14bfaac-8bf9-4c55-8a76-f3e4d9d02e19" providerId="AD" clId="Web-{5A19769F-D275-7961-20DC-8266747A03B3}" dt="2025-06-06T13:08:41.187" v="3" actId="1076"/>
          <ac:spMkLst>
            <pc:docMk/>
            <pc:sldMk cId="1818084077" sldId="2147480479"/>
            <ac:spMk id="11" creationId="{F3C822A5-DE91-1C8A-5870-B1CFD2AEEEE0}"/>
          </ac:spMkLst>
        </pc:spChg>
      </pc:sldChg>
      <pc:sldChg chg="modSp add">
        <pc:chgData name="Singh, Ram Kalpnath" userId="S::ramksingh@deloitte.com::c14bfaac-8bf9-4c55-8a76-f3e4d9d02e19" providerId="AD" clId="Web-{5A19769F-D275-7961-20DC-8266747A03B3}" dt="2025-06-06T13:10:32.523" v="8" actId="20577"/>
        <pc:sldMkLst>
          <pc:docMk/>
          <pc:sldMk cId="17041418" sldId="2147480480"/>
        </pc:sldMkLst>
      </pc:sldChg>
      <pc:sldChg chg="modSp add">
        <pc:chgData name="Singh, Ram Kalpnath" userId="S::ramksingh@deloitte.com::c14bfaac-8bf9-4c55-8a76-f3e4d9d02e19" providerId="AD" clId="Web-{5A19769F-D275-7961-20DC-8266747A03B3}" dt="2025-06-06T13:10:42.430" v="10" actId="20577"/>
        <pc:sldMkLst>
          <pc:docMk/>
          <pc:sldMk cId="292172058" sldId="2147480481"/>
        </pc:sldMkLst>
        <pc:spChg chg="mod">
          <ac:chgData name="Singh, Ram Kalpnath" userId="S::ramksingh@deloitte.com::c14bfaac-8bf9-4c55-8a76-f3e4d9d02e19" providerId="AD" clId="Web-{5A19769F-D275-7961-20DC-8266747A03B3}" dt="2025-06-06T13:10:42.430" v="10" actId="20577"/>
          <ac:spMkLst>
            <pc:docMk/>
            <pc:sldMk cId="292172058" sldId="2147480481"/>
            <ac:spMk id="3" creationId="{8A56E455-E02B-96F5-C2AA-4E4E780CBDBD}"/>
          </ac:spMkLst>
        </pc:spChg>
      </pc:sldChg>
      <pc:sldChg chg="modSp add">
        <pc:chgData name="Singh, Ram Kalpnath" userId="S::ramksingh@deloitte.com::c14bfaac-8bf9-4c55-8a76-f3e4d9d02e19" providerId="AD" clId="Web-{5A19769F-D275-7961-20DC-8266747A03B3}" dt="2025-06-06T13:11:24.729" v="13" actId="20577"/>
        <pc:sldMkLst>
          <pc:docMk/>
          <pc:sldMk cId="1846665679" sldId="2147480482"/>
        </pc:sldMkLst>
        <pc:spChg chg="mod">
          <ac:chgData name="Singh, Ram Kalpnath" userId="S::ramksingh@deloitte.com::c14bfaac-8bf9-4c55-8a76-f3e4d9d02e19" providerId="AD" clId="Web-{5A19769F-D275-7961-20DC-8266747A03B3}" dt="2025-06-06T13:11:24.729" v="13" actId="20577"/>
          <ac:spMkLst>
            <pc:docMk/>
            <pc:sldMk cId="1846665679" sldId="2147480482"/>
            <ac:spMk id="3" creationId="{8A56E455-E02B-96F5-C2AA-4E4E780CBDBD}"/>
          </ac:spMkLst>
        </pc:spChg>
      </pc:sldChg>
      <pc:sldChg chg="modSp add">
        <pc:chgData name="Singh, Ram Kalpnath" userId="S::ramksingh@deloitte.com::c14bfaac-8bf9-4c55-8a76-f3e4d9d02e19" providerId="AD" clId="Web-{5A19769F-D275-7961-20DC-8266747A03B3}" dt="2025-06-06T13:11:44.324" v="18" actId="20577"/>
        <pc:sldMkLst>
          <pc:docMk/>
          <pc:sldMk cId="909118351" sldId="2147480483"/>
        </pc:sldMkLst>
        <pc:spChg chg="mod">
          <ac:chgData name="Singh, Ram Kalpnath" userId="S::ramksingh@deloitte.com::c14bfaac-8bf9-4c55-8a76-f3e4d9d02e19" providerId="AD" clId="Web-{5A19769F-D275-7961-20DC-8266747A03B3}" dt="2025-06-06T13:11:44.324" v="18" actId="20577"/>
          <ac:spMkLst>
            <pc:docMk/>
            <pc:sldMk cId="909118351" sldId="2147480483"/>
            <ac:spMk id="3" creationId="{8A56E455-E02B-96F5-C2AA-4E4E780CBDBD}"/>
          </ac:spMkLst>
        </pc:spChg>
      </pc:sldChg>
      <pc:sldChg chg="modSp add">
        <pc:chgData name="Singh, Ram Kalpnath" userId="S::ramksingh@deloitte.com::c14bfaac-8bf9-4c55-8a76-f3e4d9d02e19" providerId="AD" clId="Web-{5A19769F-D275-7961-20DC-8266747A03B3}" dt="2025-06-06T13:12:37.062" v="23" actId="20577"/>
        <pc:sldMkLst>
          <pc:docMk/>
          <pc:sldMk cId="639997029" sldId="2147480484"/>
        </pc:sldMkLst>
        <pc:spChg chg="mod">
          <ac:chgData name="Singh, Ram Kalpnath" userId="S::ramksingh@deloitte.com::c14bfaac-8bf9-4c55-8a76-f3e4d9d02e19" providerId="AD" clId="Web-{5A19769F-D275-7961-20DC-8266747A03B3}" dt="2025-06-06T13:12:37.062" v="23" actId="20577"/>
          <ac:spMkLst>
            <pc:docMk/>
            <pc:sldMk cId="639997029" sldId="2147480484"/>
            <ac:spMk id="3" creationId="{8A56E455-E02B-96F5-C2AA-4E4E780CBDBD}"/>
          </ac:spMkLst>
        </pc:spChg>
      </pc:sldChg>
      <pc:sldChg chg="modSp add">
        <pc:chgData name="Singh, Ram Kalpnath" userId="S::ramksingh@deloitte.com::c14bfaac-8bf9-4c55-8a76-f3e4d9d02e19" providerId="AD" clId="Web-{5A19769F-D275-7961-20DC-8266747A03B3}" dt="2025-06-06T13:13:19.143" v="28" actId="20577"/>
        <pc:sldMkLst>
          <pc:docMk/>
          <pc:sldMk cId="1884353237" sldId="2147480485"/>
        </pc:sldMkLst>
        <pc:spChg chg="mod">
          <ac:chgData name="Singh, Ram Kalpnath" userId="S::ramksingh@deloitte.com::c14bfaac-8bf9-4c55-8a76-f3e4d9d02e19" providerId="AD" clId="Web-{5A19769F-D275-7961-20DC-8266747A03B3}" dt="2025-06-06T13:13:19.143" v="28" actId="20577"/>
          <ac:spMkLst>
            <pc:docMk/>
            <pc:sldMk cId="1884353237" sldId="2147480485"/>
            <ac:spMk id="3" creationId="{8A56E455-E02B-96F5-C2AA-4E4E780CBDBD}"/>
          </ac:spMkLst>
        </pc:spChg>
      </pc:sldChg>
      <pc:sldChg chg="modSp add">
        <pc:chgData name="Singh, Ram Kalpnath" userId="S::ramksingh@deloitte.com::c14bfaac-8bf9-4c55-8a76-f3e4d9d02e19" providerId="AD" clId="Web-{5A19769F-D275-7961-20DC-8266747A03B3}" dt="2025-06-06T13:13:30.941" v="32" actId="20577"/>
        <pc:sldMkLst>
          <pc:docMk/>
          <pc:sldMk cId="2417848035" sldId="2147480486"/>
        </pc:sldMkLst>
      </pc:sldChg>
    </pc:docChg>
  </pc:docChgLst>
  <pc:docChgLst>
    <pc:chgData name="Sujen, Sujen" userId="S::ssujen@deloitte.com::d615e17d-6b42-463f-a1ef-30ca167415e3" providerId="AD" clId="Web-{FC061F0C-D9DA-07A3-486D-37E3577B4E5D}"/>
    <pc:docChg chg="addSld modSld modSection">
      <pc:chgData name="Sujen, Sujen" userId="S::ssujen@deloitte.com::d615e17d-6b42-463f-a1ef-30ca167415e3" providerId="AD" clId="Web-{FC061F0C-D9DA-07A3-486D-37E3577B4E5D}" dt="2025-06-06T12:41:50.701" v="265" actId="20577"/>
      <pc:docMkLst>
        <pc:docMk/>
      </pc:docMkLst>
      <pc:sldChg chg="addSp modSp add replId">
        <pc:chgData name="Sujen, Sujen" userId="S::ssujen@deloitte.com::d615e17d-6b42-463f-a1ef-30ca167415e3" providerId="AD" clId="Web-{FC061F0C-D9DA-07A3-486D-37E3577B4E5D}" dt="2025-06-06T10:14:55.142" v="179" actId="20577"/>
        <pc:sldMkLst>
          <pc:docMk/>
          <pc:sldMk cId="4173253307" sldId="2147480475"/>
        </pc:sldMkLst>
        <pc:spChg chg="mod">
          <ac:chgData name="Sujen, Sujen" userId="S::ssujen@deloitte.com::d615e17d-6b42-463f-a1ef-30ca167415e3" providerId="AD" clId="Web-{FC061F0C-D9DA-07A3-486D-37E3577B4E5D}" dt="2025-06-06T10:12:52.821" v="146" actId="20577"/>
          <ac:spMkLst>
            <pc:docMk/>
            <pc:sldMk cId="4173253307" sldId="2147480475"/>
            <ac:spMk id="3" creationId="{38B974B0-184D-1102-B9F5-B30957FEE4F8}"/>
          </ac:spMkLst>
        </pc:spChg>
        <pc:spChg chg="mod">
          <ac:chgData name="Sujen, Sujen" userId="S::ssujen@deloitte.com::d615e17d-6b42-463f-a1ef-30ca167415e3" providerId="AD" clId="Web-{FC061F0C-D9DA-07A3-486D-37E3577B4E5D}" dt="2025-06-06T08:21:41.196" v="121" actId="1076"/>
          <ac:spMkLst>
            <pc:docMk/>
            <pc:sldMk cId="4173253307" sldId="2147480475"/>
            <ac:spMk id="4" creationId="{5AFD576C-3DF0-26E2-630B-82C22DDA2B30}"/>
          </ac:spMkLst>
        </pc:spChg>
        <pc:spChg chg="mod">
          <ac:chgData name="Sujen, Sujen" userId="S::ssujen@deloitte.com::d615e17d-6b42-463f-a1ef-30ca167415e3" providerId="AD" clId="Web-{FC061F0C-D9DA-07A3-486D-37E3577B4E5D}" dt="2025-06-06T09:10:57.028" v="139" actId="1076"/>
          <ac:spMkLst>
            <pc:docMk/>
            <pc:sldMk cId="4173253307" sldId="2147480475"/>
            <ac:spMk id="6" creationId="{A76D1631-2175-12AB-CE7D-DCB52E3A4801}"/>
          </ac:spMkLst>
        </pc:spChg>
        <pc:spChg chg="add mod">
          <ac:chgData name="Sujen, Sujen" userId="S::ssujen@deloitte.com::d615e17d-6b42-463f-a1ef-30ca167415e3" providerId="AD" clId="Web-{FC061F0C-D9DA-07A3-486D-37E3577B4E5D}" dt="2025-06-06T10:14:55.142" v="179" actId="20577"/>
          <ac:spMkLst>
            <pc:docMk/>
            <pc:sldMk cId="4173253307" sldId="2147480475"/>
            <ac:spMk id="7" creationId="{F17A2F2B-581C-E773-E595-CBC0005F48DC}"/>
          </ac:spMkLst>
        </pc:spChg>
        <pc:spChg chg="mod">
          <ac:chgData name="Sujen, Sujen" userId="S::ssujen@deloitte.com::d615e17d-6b42-463f-a1ef-30ca167415e3" providerId="AD" clId="Web-{FC061F0C-D9DA-07A3-486D-37E3577B4E5D}" dt="2025-06-06T08:21:34.649" v="120" actId="14100"/>
          <ac:spMkLst>
            <pc:docMk/>
            <pc:sldMk cId="4173253307" sldId="2147480475"/>
            <ac:spMk id="8" creationId="{DEB5344C-4106-1005-C8C7-5225A2224E71}"/>
          </ac:spMkLst>
        </pc:spChg>
        <pc:spChg chg="mod">
          <ac:chgData name="Sujen, Sujen" userId="S::ssujen@deloitte.com::d615e17d-6b42-463f-a1ef-30ca167415e3" providerId="AD" clId="Web-{FC061F0C-D9DA-07A3-486D-37E3577B4E5D}" dt="2025-06-06T08:19:05.269" v="115" actId="20577"/>
          <ac:spMkLst>
            <pc:docMk/>
            <pc:sldMk cId="4173253307" sldId="2147480475"/>
            <ac:spMk id="9" creationId="{1E20A6FD-9423-BF28-8EDC-2F9096E3A68D}"/>
          </ac:spMkLst>
        </pc:spChg>
        <pc:spChg chg="mod">
          <ac:chgData name="Sujen, Sujen" userId="S::ssujen@deloitte.com::d615e17d-6b42-463f-a1ef-30ca167415e3" providerId="AD" clId="Web-{FC061F0C-D9DA-07A3-486D-37E3577B4E5D}" dt="2025-06-06T09:10:54.215" v="138" actId="20577"/>
          <ac:spMkLst>
            <pc:docMk/>
            <pc:sldMk cId="4173253307" sldId="2147480475"/>
            <ac:spMk id="13" creationId="{8DFB4655-4993-F2C7-3C9C-28E8159C22D1}"/>
          </ac:spMkLst>
        </pc:spChg>
      </pc:sldChg>
      <pc:sldChg chg="modSp add replId">
        <pc:chgData name="Sujen, Sujen" userId="S::ssujen@deloitte.com::d615e17d-6b42-463f-a1ef-30ca167415e3" providerId="AD" clId="Web-{FC061F0C-D9DA-07A3-486D-37E3577B4E5D}" dt="2025-06-06T12:41:50.701" v="265" actId="20577"/>
        <pc:sldMkLst>
          <pc:docMk/>
          <pc:sldMk cId="1818084077" sldId="2147480479"/>
        </pc:sldMkLst>
        <pc:spChg chg="mod">
          <ac:chgData name="Sujen, Sujen" userId="S::ssujen@deloitte.com::d615e17d-6b42-463f-a1ef-30ca167415e3" providerId="AD" clId="Web-{FC061F0C-D9DA-07A3-486D-37E3577B4E5D}" dt="2025-06-06T12:41:50.701" v="265" actId="20577"/>
          <ac:spMkLst>
            <pc:docMk/>
            <pc:sldMk cId="1818084077" sldId="2147480479"/>
            <ac:spMk id="3" creationId="{E9684E11-1DF4-AEDE-E85B-CB5FA92CCE8A}"/>
          </ac:spMkLst>
        </pc:spChg>
        <pc:spChg chg="mod">
          <ac:chgData name="Sujen, Sujen" userId="S::ssujen@deloitte.com::d615e17d-6b42-463f-a1ef-30ca167415e3" providerId="AD" clId="Web-{FC061F0C-D9DA-07A3-486D-37E3577B4E5D}" dt="2025-06-06T12:38:56.459" v="252" actId="20577"/>
          <ac:spMkLst>
            <pc:docMk/>
            <pc:sldMk cId="1818084077" sldId="2147480479"/>
            <ac:spMk id="4" creationId="{02A83C3D-7701-4469-3CF6-27A27AA7A9C4}"/>
          </ac:spMkLst>
        </pc:spChg>
        <pc:spChg chg="mod">
          <ac:chgData name="Sujen, Sujen" userId="S::ssujen@deloitte.com::d615e17d-6b42-463f-a1ef-30ca167415e3" providerId="AD" clId="Web-{FC061F0C-D9DA-07A3-486D-37E3577B4E5D}" dt="2025-06-06T12:38:39.458" v="250" actId="20577"/>
          <ac:spMkLst>
            <pc:docMk/>
            <pc:sldMk cId="1818084077" sldId="2147480479"/>
            <ac:spMk id="5" creationId="{0A14A523-CC81-0EA3-4995-CAB875AF1CB0}"/>
          </ac:spMkLst>
        </pc:spChg>
        <pc:spChg chg="mod">
          <ac:chgData name="Sujen, Sujen" userId="S::ssujen@deloitte.com::d615e17d-6b42-463f-a1ef-30ca167415e3" providerId="AD" clId="Web-{FC061F0C-D9DA-07A3-486D-37E3577B4E5D}" dt="2025-06-06T12:41:07.605" v="263" actId="20577"/>
          <ac:spMkLst>
            <pc:docMk/>
            <pc:sldMk cId="1818084077" sldId="2147480479"/>
            <ac:spMk id="6" creationId="{33BBA755-8228-3BD6-A25F-26FADB6DCA96}"/>
          </ac:spMkLst>
        </pc:spChg>
        <pc:spChg chg="mod">
          <ac:chgData name="Sujen, Sujen" userId="S::ssujen@deloitte.com::d615e17d-6b42-463f-a1ef-30ca167415e3" providerId="AD" clId="Web-{FC061F0C-D9DA-07A3-486D-37E3577B4E5D}" dt="2025-06-06T12:38:23.255" v="248" actId="20577"/>
          <ac:spMkLst>
            <pc:docMk/>
            <pc:sldMk cId="1818084077" sldId="2147480479"/>
            <ac:spMk id="8" creationId="{B2DA481E-840B-5AE1-7180-0F65B4E13922}"/>
          </ac:spMkLst>
        </pc:spChg>
        <pc:spChg chg="mod">
          <ac:chgData name="Sujen, Sujen" userId="S::ssujen@deloitte.com::d615e17d-6b42-463f-a1ef-30ca167415e3" providerId="AD" clId="Web-{FC061F0C-D9DA-07A3-486D-37E3577B4E5D}" dt="2025-06-06T12:39:01.178" v="254" actId="20577"/>
          <ac:spMkLst>
            <pc:docMk/>
            <pc:sldMk cId="1818084077" sldId="2147480479"/>
            <ac:spMk id="9" creationId="{4FFFAA12-4506-52C5-F959-3B70670FA5C6}"/>
          </ac:spMkLst>
        </pc:spChg>
      </pc:sldChg>
    </pc:docChg>
  </pc:docChgLst>
  <pc:docChgLst>
    <pc:chgData name="Tanna, Drashty" userId="S::drtanna@deloitte.com::2ebec2a7-57b3-4ec0-a50b-e21cea8033ef" providerId="AD" clId="Web-{A6368737-7409-A0D6-8F05-1AEA53BB0AB5}"/>
    <pc:docChg chg="addSld modSld modSection">
      <pc:chgData name="Tanna, Drashty" userId="S::drtanna@deloitte.com::2ebec2a7-57b3-4ec0-a50b-e21cea8033ef" providerId="AD" clId="Web-{A6368737-7409-A0D6-8F05-1AEA53BB0AB5}" dt="2025-06-07T12:36:15.765" v="57" actId="1076"/>
      <pc:docMkLst>
        <pc:docMk/>
      </pc:docMkLst>
      <pc:sldChg chg="modSp">
        <pc:chgData name="Tanna, Drashty" userId="S::drtanna@deloitte.com::2ebec2a7-57b3-4ec0-a50b-e21cea8033ef" providerId="AD" clId="Web-{A6368737-7409-A0D6-8F05-1AEA53BB0AB5}" dt="2025-06-07T12:00:51.396" v="20" actId="20577"/>
        <pc:sldMkLst>
          <pc:docMk/>
          <pc:sldMk cId="2104941130" sldId="2147480489"/>
        </pc:sldMkLst>
        <pc:spChg chg="mod">
          <ac:chgData name="Tanna, Drashty" userId="S::drtanna@deloitte.com::2ebec2a7-57b3-4ec0-a50b-e21cea8033ef" providerId="AD" clId="Web-{A6368737-7409-A0D6-8F05-1AEA53BB0AB5}" dt="2025-06-07T12:00:51.396" v="20" actId="20577"/>
          <ac:spMkLst>
            <pc:docMk/>
            <pc:sldMk cId="2104941130" sldId="2147480489"/>
            <ac:spMk id="4" creationId="{58AB0A2A-77B8-BC84-4811-6B0E7EEF8D3C}"/>
          </ac:spMkLst>
        </pc:spChg>
      </pc:sldChg>
      <pc:sldChg chg="modSp">
        <pc:chgData name="Tanna, Drashty" userId="S::drtanna@deloitte.com::2ebec2a7-57b3-4ec0-a50b-e21cea8033ef" providerId="AD" clId="Web-{A6368737-7409-A0D6-8F05-1AEA53BB0AB5}" dt="2025-06-07T12:00:20.864" v="13" actId="20577"/>
        <pc:sldMkLst>
          <pc:docMk/>
          <pc:sldMk cId="4194400554" sldId="2147480495"/>
        </pc:sldMkLst>
        <pc:spChg chg="mod">
          <ac:chgData name="Tanna, Drashty" userId="S::drtanna@deloitte.com::2ebec2a7-57b3-4ec0-a50b-e21cea8033ef" providerId="AD" clId="Web-{A6368737-7409-A0D6-8F05-1AEA53BB0AB5}" dt="2025-06-07T12:00:20.864" v="13" actId="20577"/>
          <ac:spMkLst>
            <pc:docMk/>
            <pc:sldMk cId="4194400554" sldId="2147480495"/>
            <ac:spMk id="4" creationId="{2CD70207-EC54-76D3-A970-6E8CAEE5F7BA}"/>
          </ac:spMkLst>
        </pc:spChg>
      </pc:sldChg>
      <pc:sldChg chg="modSp add replId">
        <pc:chgData name="Tanna, Drashty" userId="S::drtanna@deloitte.com::2ebec2a7-57b3-4ec0-a50b-e21cea8033ef" providerId="AD" clId="Web-{A6368737-7409-A0D6-8F05-1AEA53BB0AB5}" dt="2025-06-07T12:36:15.765" v="57" actId="1076"/>
        <pc:sldMkLst>
          <pc:docMk/>
          <pc:sldMk cId="1297285323" sldId="2147480500"/>
        </pc:sldMkLst>
        <pc:spChg chg="mod">
          <ac:chgData name="Tanna, Drashty" userId="S::drtanna@deloitte.com::2ebec2a7-57b3-4ec0-a50b-e21cea8033ef" providerId="AD" clId="Web-{A6368737-7409-A0D6-8F05-1AEA53BB0AB5}" dt="2025-06-07T12:25:51.699" v="23" actId="20577"/>
          <ac:spMkLst>
            <pc:docMk/>
            <pc:sldMk cId="1297285323" sldId="2147480500"/>
            <ac:spMk id="3" creationId="{08DA2968-3E1E-128A-7BD1-787DE114BF6A}"/>
          </ac:spMkLst>
        </pc:spChg>
        <pc:spChg chg="mod">
          <ac:chgData name="Tanna, Drashty" userId="S::drtanna@deloitte.com::2ebec2a7-57b3-4ec0-a50b-e21cea8033ef" providerId="AD" clId="Web-{A6368737-7409-A0D6-8F05-1AEA53BB0AB5}" dt="2025-06-07T12:32:14.976" v="48" actId="20577"/>
          <ac:spMkLst>
            <pc:docMk/>
            <pc:sldMk cId="1297285323" sldId="2147480500"/>
            <ac:spMk id="4" creationId="{85F6F4EC-9DEF-E1E2-CAED-0A9E5DED8AE8}"/>
          </ac:spMkLst>
        </pc:spChg>
        <pc:spChg chg="mod">
          <ac:chgData name="Tanna, Drashty" userId="S::drtanna@deloitte.com::2ebec2a7-57b3-4ec0-a50b-e21cea8033ef" providerId="AD" clId="Web-{A6368737-7409-A0D6-8F05-1AEA53BB0AB5}" dt="2025-06-07T12:31:46.413" v="33" actId="1076"/>
          <ac:spMkLst>
            <pc:docMk/>
            <pc:sldMk cId="1297285323" sldId="2147480500"/>
            <ac:spMk id="5" creationId="{9EB4A509-9695-5A3D-9939-91ABC28FE623}"/>
          </ac:spMkLst>
        </pc:spChg>
        <pc:spChg chg="mod">
          <ac:chgData name="Tanna, Drashty" userId="S::drtanna@deloitte.com::2ebec2a7-57b3-4ec0-a50b-e21cea8033ef" providerId="AD" clId="Web-{A6368737-7409-A0D6-8F05-1AEA53BB0AB5}" dt="2025-06-07T12:35:14.966" v="51" actId="20577"/>
          <ac:spMkLst>
            <pc:docMk/>
            <pc:sldMk cId="1297285323" sldId="2147480500"/>
            <ac:spMk id="6" creationId="{3B159AB5-57CF-0FA0-B0AA-6B15C3FF949C}"/>
          </ac:spMkLst>
        </pc:spChg>
        <pc:spChg chg="mod">
          <ac:chgData name="Tanna, Drashty" userId="S::drtanna@deloitte.com::2ebec2a7-57b3-4ec0-a50b-e21cea8033ef" providerId="AD" clId="Web-{A6368737-7409-A0D6-8F05-1AEA53BB0AB5}" dt="2025-06-07T12:36:15.765" v="57" actId="1076"/>
          <ac:spMkLst>
            <pc:docMk/>
            <pc:sldMk cId="1297285323" sldId="2147480500"/>
            <ac:spMk id="7" creationId="{E4780445-9C7B-49A5-DDDA-E117111CB0A7}"/>
          </ac:spMkLst>
        </pc:spChg>
        <pc:spChg chg="mod">
          <ac:chgData name="Tanna, Drashty" userId="S::drtanna@deloitte.com::2ebec2a7-57b3-4ec0-a50b-e21cea8033ef" providerId="AD" clId="Web-{A6368737-7409-A0D6-8F05-1AEA53BB0AB5}" dt="2025-06-07T12:26:08.778" v="24" actId="20577"/>
          <ac:spMkLst>
            <pc:docMk/>
            <pc:sldMk cId="1297285323" sldId="2147480500"/>
            <ac:spMk id="8" creationId="{A157BF13-B6D6-CE2E-D753-81779609E9B3}"/>
          </ac:spMkLst>
        </pc:spChg>
      </pc:sldChg>
    </pc:docChg>
  </pc:docChgLst>
  <pc:docChgLst>
    <pc:chgData name="bajjuri, uday" userId="S::buday@deloitte.com::025fb0ba-a4ce-4a23-96ae-073505eee83b" providerId="AD" clId="Web-{49B29B09-33BF-B3A6-662D-FF5B10B6E632}"/>
    <pc:docChg chg="mod">
      <pc:chgData name="bajjuri, uday" userId="S::buday@deloitte.com::025fb0ba-a4ce-4a23-96ae-073505eee83b" providerId="AD" clId="Web-{49B29B09-33BF-B3A6-662D-FF5B10B6E632}" dt="2025-06-11T07:28:49.274" v="0"/>
      <pc:docMkLst>
        <pc:docMk/>
      </pc:docMkLst>
    </pc:docChg>
  </pc:docChgLst>
  <pc:docChgLst>
    <pc:chgData name="Singh, Ram Kalpnath" userId="c14bfaac-8bf9-4c55-8a76-f3e4d9d02e19" providerId="ADAL" clId="{2A366E41-416D-4F25-AC56-31AB32E88EC1}"/>
    <pc:docChg chg="undo custSel addSld delSld modSld modSection">
      <pc:chgData name="Singh, Ram Kalpnath" userId="c14bfaac-8bf9-4c55-8a76-f3e4d9d02e19" providerId="ADAL" clId="{2A366E41-416D-4F25-AC56-31AB32E88EC1}" dt="2025-06-06T10:52:13.592" v="1375" actId="207"/>
      <pc:docMkLst>
        <pc:docMk/>
      </pc:docMkLst>
      <pc:sldChg chg="modSp add mod">
        <pc:chgData name="Singh, Ram Kalpnath" userId="c14bfaac-8bf9-4c55-8a76-f3e4d9d02e19" providerId="ADAL" clId="{2A366E41-416D-4F25-AC56-31AB32E88EC1}" dt="2025-05-13T06:44:20.381" v="263" actId="20577"/>
        <pc:sldMkLst>
          <pc:docMk/>
          <pc:sldMk cId="1274820467" sldId="2147480457"/>
        </pc:sldMkLst>
        <pc:spChg chg="mod">
          <ac:chgData name="Singh, Ram Kalpnath" userId="c14bfaac-8bf9-4c55-8a76-f3e4d9d02e19" providerId="ADAL" clId="{2A366E41-416D-4F25-AC56-31AB32E88EC1}" dt="2025-05-10T06:32:05.041" v="6" actId="108"/>
          <ac:spMkLst>
            <pc:docMk/>
            <pc:sldMk cId="1274820467" sldId="2147480457"/>
            <ac:spMk id="3" creationId="{8A56E455-E02B-96F5-C2AA-4E4E780CBDBD}"/>
          </ac:spMkLst>
        </pc:spChg>
        <pc:spChg chg="mod">
          <ac:chgData name="Singh, Ram Kalpnath" userId="c14bfaac-8bf9-4c55-8a76-f3e4d9d02e19" providerId="ADAL" clId="{2A366E41-416D-4F25-AC56-31AB32E88EC1}" dt="2025-05-13T06:41:32.202" v="39" actId="20577"/>
          <ac:spMkLst>
            <pc:docMk/>
            <pc:sldMk cId="1274820467" sldId="2147480457"/>
            <ac:spMk id="4" creationId="{D00745B2-75A1-0AC8-4C39-5618D6FF5C1B}"/>
          </ac:spMkLst>
        </pc:spChg>
        <pc:spChg chg="mod">
          <ac:chgData name="Singh, Ram Kalpnath" userId="c14bfaac-8bf9-4c55-8a76-f3e4d9d02e19" providerId="ADAL" clId="{2A366E41-416D-4F25-AC56-31AB32E88EC1}" dt="2025-05-13T06:43:25.345" v="206" actId="20577"/>
          <ac:spMkLst>
            <pc:docMk/>
            <pc:sldMk cId="1274820467" sldId="2147480457"/>
            <ac:spMk id="5" creationId="{14A88BCF-9352-A540-345D-D4C26E14DEBF}"/>
          </ac:spMkLst>
        </pc:spChg>
        <pc:spChg chg="mod">
          <ac:chgData name="Singh, Ram Kalpnath" userId="c14bfaac-8bf9-4c55-8a76-f3e4d9d02e19" providerId="ADAL" clId="{2A366E41-416D-4F25-AC56-31AB32E88EC1}" dt="2025-05-10T06:31:52.649" v="5" actId="108"/>
          <ac:spMkLst>
            <pc:docMk/>
            <pc:sldMk cId="1274820467" sldId="2147480457"/>
            <ac:spMk id="8" creationId="{BA657787-4731-0A0C-9EFF-BF32F828B6E8}"/>
          </ac:spMkLst>
        </pc:spChg>
        <pc:spChg chg="mod">
          <ac:chgData name="Singh, Ram Kalpnath" userId="c14bfaac-8bf9-4c55-8a76-f3e4d9d02e19" providerId="ADAL" clId="{2A366E41-416D-4F25-AC56-31AB32E88EC1}" dt="2025-05-13T06:44:20.381" v="263" actId="20577"/>
          <ac:spMkLst>
            <pc:docMk/>
            <pc:sldMk cId="1274820467" sldId="2147480457"/>
            <ac:spMk id="10" creationId="{8D61C51C-1B86-64A2-850D-2523E0447588}"/>
          </ac:spMkLst>
        </pc:spChg>
      </pc:sldChg>
      <pc:sldChg chg="modSp add mod">
        <pc:chgData name="Singh, Ram Kalpnath" userId="c14bfaac-8bf9-4c55-8a76-f3e4d9d02e19" providerId="ADAL" clId="{2A366E41-416D-4F25-AC56-31AB32E88EC1}" dt="2025-05-13T07:00:43.852" v="438" actId="14100"/>
        <pc:sldMkLst>
          <pc:docMk/>
          <pc:sldMk cId="3915799366" sldId="2147480458"/>
        </pc:sldMkLst>
        <pc:spChg chg="mod">
          <ac:chgData name="Singh, Ram Kalpnath" userId="c14bfaac-8bf9-4c55-8a76-f3e4d9d02e19" providerId="ADAL" clId="{2A366E41-416D-4F25-AC56-31AB32E88EC1}" dt="2025-05-13T06:50:25.384" v="276" actId="20577"/>
          <ac:spMkLst>
            <pc:docMk/>
            <pc:sldMk cId="3915799366" sldId="2147480458"/>
            <ac:spMk id="3" creationId="{8A56E455-E02B-96F5-C2AA-4E4E780CBDBD}"/>
          </ac:spMkLst>
        </pc:spChg>
        <pc:spChg chg="mod">
          <ac:chgData name="Singh, Ram Kalpnath" userId="c14bfaac-8bf9-4c55-8a76-f3e4d9d02e19" providerId="ADAL" clId="{2A366E41-416D-4F25-AC56-31AB32E88EC1}" dt="2025-05-13T06:56:32.396" v="416" actId="14100"/>
          <ac:spMkLst>
            <pc:docMk/>
            <pc:sldMk cId="3915799366" sldId="2147480458"/>
            <ac:spMk id="4" creationId="{D00745B2-75A1-0AC8-4C39-5618D6FF5C1B}"/>
          </ac:spMkLst>
        </pc:spChg>
        <pc:spChg chg="mod">
          <ac:chgData name="Singh, Ram Kalpnath" userId="c14bfaac-8bf9-4c55-8a76-f3e4d9d02e19" providerId="ADAL" clId="{2A366E41-416D-4F25-AC56-31AB32E88EC1}" dt="2025-05-13T06:54:42.358" v="395" actId="20577"/>
          <ac:spMkLst>
            <pc:docMk/>
            <pc:sldMk cId="3915799366" sldId="2147480458"/>
            <ac:spMk id="5" creationId="{14A88BCF-9352-A540-345D-D4C26E14DEBF}"/>
          </ac:spMkLst>
        </pc:spChg>
        <pc:spChg chg="mod">
          <ac:chgData name="Singh, Ram Kalpnath" userId="c14bfaac-8bf9-4c55-8a76-f3e4d9d02e19" providerId="ADAL" clId="{2A366E41-416D-4F25-AC56-31AB32E88EC1}" dt="2025-05-13T06:58:23.759" v="425" actId="1076"/>
          <ac:spMkLst>
            <pc:docMk/>
            <pc:sldMk cId="3915799366" sldId="2147480458"/>
            <ac:spMk id="6" creationId="{C7AB02ED-6B99-D130-88DA-D3AE5E8812C4}"/>
          </ac:spMkLst>
        </pc:spChg>
        <pc:spChg chg="mod">
          <ac:chgData name="Singh, Ram Kalpnath" userId="c14bfaac-8bf9-4c55-8a76-f3e4d9d02e19" providerId="ADAL" clId="{2A366E41-416D-4F25-AC56-31AB32E88EC1}" dt="2025-05-13T06:52:08.461" v="290" actId="14100"/>
          <ac:spMkLst>
            <pc:docMk/>
            <pc:sldMk cId="3915799366" sldId="2147480458"/>
            <ac:spMk id="8" creationId="{BA657787-4731-0A0C-9EFF-BF32F828B6E8}"/>
          </ac:spMkLst>
        </pc:spChg>
        <pc:spChg chg="mod">
          <ac:chgData name="Singh, Ram Kalpnath" userId="c14bfaac-8bf9-4c55-8a76-f3e4d9d02e19" providerId="ADAL" clId="{2A366E41-416D-4F25-AC56-31AB32E88EC1}" dt="2025-05-13T07:00:43.852" v="438" actId="14100"/>
          <ac:spMkLst>
            <pc:docMk/>
            <pc:sldMk cId="3915799366" sldId="2147480458"/>
            <ac:spMk id="10" creationId="{8D61C51C-1B86-64A2-850D-2523E0447588}"/>
          </ac:spMkLst>
        </pc:spChg>
      </pc:sldChg>
      <pc:sldChg chg="modSp add mod">
        <pc:chgData name="Singh, Ram Kalpnath" userId="c14bfaac-8bf9-4c55-8a76-f3e4d9d02e19" providerId="ADAL" clId="{2A366E41-416D-4F25-AC56-31AB32E88EC1}" dt="2025-05-13T07:10:36.431" v="472" actId="20577"/>
        <pc:sldMkLst>
          <pc:docMk/>
          <pc:sldMk cId="1339825355" sldId="2147480459"/>
        </pc:sldMkLst>
        <pc:spChg chg="mod">
          <ac:chgData name="Singh, Ram Kalpnath" userId="c14bfaac-8bf9-4c55-8a76-f3e4d9d02e19" providerId="ADAL" clId="{2A366E41-416D-4F25-AC56-31AB32E88EC1}" dt="2025-05-13T07:03:59.155" v="442"/>
          <ac:spMkLst>
            <pc:docMk/>
            <pc:sldMk cId="1339825355" sldId="2147480459"/>
            <ac:spMk id="3" creationId="{8A56E455-E02B-96F5-C2AA-4E4E780CBDBD}"/>
          </ac:spMkLst>
        </pc:spChg>
        <pc:spChg chg="mod">
          <ac:chgData name="Singh, Ram Kalpnath" userId="c14bfaac-8bf9-4c55-8a76-f3e4d9d02e19" providerId="ADAL" clId="{2A366E41-416D-4F25-AC56-31AB32E88EC1}" dt="2025-05-13T07:07:53.281" v="450" actId="6549"/>
          <ac:spMkLst>
            <pc:docMk/>
            <pc:sldMk cId="1339825355" sldId="2147480459"/>
            <ac:spMk id="4" creationId="{D00745B2-75A1-0AC8-4C39-5618D6FF5C1B}"/>
          </ac:spMkLst>
        </pc:spChg>
        <pc:spChg chg="mod">
          <ac:chgData name="Singh, Ram Kalpnath" userId="c14bfaac-8bf9-4c55-8a76-f3e4d9d02e19" providerId="ADAL" clId="{2A366E41-416D-4F25-AC56-31AB32E88EC1}" dt="2025-05-13T07:07:33.226" v="449" actId="20577"/>
          <ac:spMkLst>
            <pc:docMk/>
            <pc:sldMk cId="1339825355" sldId="2147480459"/>
            <ac:spMk id="5" creationId="{14A88BCF-9352-A540-345D-D4C26E14DEBF}"/>
          </ac:spMkLst>
        </pc:spChg>
        <pc:spChg chg="mod">
          <ac:chgData name="Singh, Ram Kalpnath" userId="c14bfaac-8bf9-4c55-8a76-f3e4d9d02e19" providerId="ADAL" clId="{2A366E41-416D-4F25-AC56-31AB32E88EC1}" dt="2025-05-13T07:08:52.938" v="459" actId="20577"/>
          <ac:spMkLst>
            <pc:docMk/>
            <pc:sldMk cId="1339825355" sldId="2147480459"/>
            <ac:spMk id="6" creationId="{C7AB02ED-6B99-D130-88DA-D3AE5E8812C4}"/>
          </ac:spMkLst>
        </pc:spChg>
        <pc:spChg chg="mod">
          <ac:chgData name="Singh, Ram Kalpnath" userId="c14bfaac-8bf9-4c55-8a76-f3e4d9d02e19" providerId="ADAL" clId="{2A366E41-416D-4F25-AC56-31AB32E88EC1}" dt="2025-05-13T07:04:19.415" v="443"/>
          <ac:spMkLst>
            <pc:docMk/>
            <pc:sldMk cId="1339825355" sldId="2147480459"/>
            <ac:spMk id="8" creationId="{BA657787-4731-0A0C-9EFF-BF32F828B6E8}"/>
          </ac:spMkLst>
        </pc:spChg>
        <pc:spChg chg="mod">
          <ac:chgData name="Singh, Ram Kalpnath" userId="c14bfaac-8bf9-4c55-8a76-f3e4d9d02e19" providerId="ADAL" clId="{2A366E41-416D-4F25-AC56-31AB32E88EC1}" dt="2025-05-13T07:10:36.431" v="472" actId="20577"/>
          <ac:spMkLst>
            <pc:docMk/>
            <pc:sldMk cId="1339825355" sldId="2147480459"/>
            <ac:spMk id="10" creationId="{8D61C51C-1B86-64A2-850D-2523E0447588}"/>
          </ac:spMkLst>
        </pc:spChg>
      </pc:sldChg>
      <pc:sldChg chg="modSp add mod">
        <pc:chgData name="Singh, Ram Kalpnath" userId="c14bfaac-8bf9-4c55-8a76-f3e4d9d02e19" providerId="ADAL" clId="{2A366E41-416D-4F25-AC56-31AB32E88EC1}" dt="2025-05-13T07:20:09.053" v="519"/>
        <pc:sldMkLst>
          <pc:docMk/>
          <pc:sldMk cId="1838323252" sldId="2147480460"/>
        </pc:sldMkLst>
        <pc:spChg chg="mod">
          <ac:chgData name="Singh, Ram Kalpnath" userId="c14bfaac-8bf9-4c55-8a76-f3e4d9d02e19" providerId="ADAL" clId="{2A366E41-416D-4F25-AC56-31AB32E88EC1}" dt="2025-05-13T07:13:54.839" v="476"/>
          <ac:spMkLst>
            <pc:docMk/>
            <pc:sldMk cId="1838323252" sldId="2147480460"/>
            <ac:spMk id="3" creationId="{8A56E455-E02B-96F5-C2AA-4E4E780CBDBD}"/>
          </ac:spMkLst>
        </pc:spChg>
        <pc:spChg chg="mod">
          <ac:chgData name="Singh, Ram Kalpnath" userId="c14bfaac-8bf9-4c55-8a76-f3e4d9d02e19" providerId="ADAL" clId="{2A366E41-416D-4F25-AC56-31AB32E88EC1}" dt="2025-05-13T07:16:44.012" v="492"/>
          <ac:spMkLst>
            <pc:docMk/>
            <pc:sldMk cId="1838323252" sldId="2147480460"/>
            <ac:spMk id="5" creationId="{14A88BCF-9352-A540-345D-D4C26E14DEBF}"/>
          </ac:spMkLst>
        </pc:spChg>
        <pc:spChg chg="mod">
          <ac:chgData name="Singh, Ram Kalpnath" userId="c14bfaac-8bf9-4c55-8a76-f3e4d9d02e19" providerId="ADAL" clId="{2A366E41-416D-4F25-AC56-31AB32E88EC1}" dt="2025-05-13T07:18:21.526" v="507" actId="6549"/>
          <ac:spMkLst>
            <pc:docMk/>
            <pc:sldMk cId="1838323252" sldId="2147480460"/>
            <ac:spMk id="6" creationId="{C7AB02ED-6B99-D130-88DA-D3AE5E8812C4}"/>
          </ac:spMkLst>
        </pc:spChg>
        <pc:spChg chg="mod">
          <ac:chgData name="Singh, Ram Kalpnath" userId="c14bfaac-8bf9-4c55-8a76-f3e4d9d02e19" providerId="ADAL" clId="{2A366E41-416D-4F25-AC56-31AB32E88EC1}" dt="2025-05-13T07:14:14" v="477"/>
          <ac:spMkLst>
            <pc:docMk/>
            <pc:sldMk cId="1838323252" sldId="2147480460"/>
            <ac:spMk id="8" creationId="{BA657787-4731-0A0C-9EFF-BF32F828B6E8}"/>
          </ac:spMkLst>
        </pc:spChg>
        <pc:spChg chg="mod">
          <ac:chgData name="Singh, Ram Kalpnath" userId="c14bfaac-8bf9-4c55-8a76-f3e4d9d02e19" providerId="ADAL" clId="{2A366E41-416D-4F25-AC56-31AB32E88EC1}" dt="2025-05-13T07:20:09.053" v="519"/>
          <ac:spMkLst>
            <pc:docMk/>
            <pc:sldMk cId="1838323252" sldId="2147480460"/>
            <ac:spMk id="10" creationId="{8D61C51C-1B86-64A2-850D-2523E0447588}"/>
          </ac:spMkLst>
        </pc:spChg>
      </pc:sldChg>
      <pc:sldChg chg="modSp add mod">
        <pc:chgData name="Singh, Ram Kalpnath" userId="c14bfaac-8bf9-4c55-8a76-f3e4d9d02e19" providerId="ADAL" clId="{2A366E41-416D-4F25-AC56-31AB32E88EC1}" dt="2025-05-13T12:54:51.785" v="643" actId="20577"/>
        <pc:sldMkLst>
          <pc:docMk/>
          <pc:sldMk cId="947559461" sldId="2147480461"/>
        </pc:sldMkLst>
        <pc:spChg chg="mod">
          <ac:chgData name="Singh, Ram Kalpnath" userId="c14bfaac-8bf9-4c55-8a76-f3e4d9d02e19" providerId="ADAL" clId="{2A366E41-416D-4F25-AC56-31AB32E88EC1}" dt="2025-05-13T07:21:10.759" v="523"/>
          <ac:spMkLst>
            <pc:docMk/>
            <pc:sldMk cId="947559461" sldId="2147480461"/>
            <ac:spMk id="3" creationId="{8A56E455-E02B-96F5-C2AA-4E4E780CBDBD}"/>
          </ac:spMkLst>
        </pc:spChg>
        <pc:spChg chg="mod">
          <ac:chgData name="Singh, Ram Kalpnath" userId="c14bfaac-8bf9-4c55-8a76-f3e4d9d02e19" providerId="ADAL" clId="{2A366E41-416D-4F25-AC56-31AB32E88EC1}" dt="2025-05-13T07:33:42.270" v="633" actId="20577"/>
          <ac:spMkLst>
            <pc:docMk/>
            <pc:sldMk cId="947559461" sldId="2147480461"/>
            <ac:spMk id="4" creationId="{D00745B2-75A1-0AC8-4C39-5618D6FF5C1B}"/>
          </ac:spMkLst>
        </pc:spChg>
        <pc:spChg chg="mod">
          <ac:chgData name="Singh, Ram Kalpnath" userId="c14bfaac-8bf9-4c55-8a76-f3e4d9d02e19" providerId="ADAL" clId="{2A366E41-416D-4F25-AC56-31AB32E88EC1}" dt="2025-05-13T07:28:53.071" v="538"/>
          <ac:spMkLst>
            <pc:docMk/>
            <pc:sldMk cId="947559461" sldId="2147480461"/>
            <ac:spMk id="5" creationId="{14A88BCF-9352-A540-345D-D4C26E14DEBF}"/>
          </ac:spMkLst>
        </pc:spChg>
        <pc:spChg chg="mod">
          <ac:chgData name="Singh, Ram Kalpnath" userId="c14bfaac-8bf9-4c55-8a76-f3e4d9d02e19" providerId="ADAL" clId="{2A366E41-416D-4F25-AC56-31AB32E88EC1}" dt="2025-05-13T07:31:21.222" v="592"/>
          <ac:spMkLst>
            <pc:docMk/>
            <pc:sldMk cId="947559461" sldId="2147480461"/>
            <ac:spMk id="6" creationId="{C7AB02ED-6B99-D130-88DA-D3AE5E8812C4}"/>
          </ac:spMkLst>
        </pc:spChg>
        <pc:spChg chg="mod">
          <ac:chgData name="Singh, Ram Kalpnath" userId="c14bfaac-8bf9-4c55-8a76-f3e4d9d02e19" providerId="ADAL" clId="{2A366E41-416D-4F25-AC56-31AB32E88EC1}" dt="2025-05-13T07:25:36.071" v="529" actId="14100"/>
          <ac:spMkLst>
            <pc:docMk/>
            <pc:sldMk cId="947559461" sldId="2147480461"/>
            <ac:spMk id="8" creationId="{BA657787-4731-0A0C-9EFF-BF32F828B6E8}"/>
          </ac:spMkLst>
        </pc:spChg>
        <pc:spChg chg="mod">
          <ac:chgData name="Singh, Ram Kalpnath" userId="c14bfaac-8bf9-4c55-8a76-f3e4d9d02e19" providerId="ADAL" clId="{2A366E41-416D-4F25-AC56-31AB32E88EC1}" dt="2025-05-13T12:54:51.785" v="643" actId="20577"/>
          <ac:spMkLst>
            <pc:docMk/>
            <pc:sldMk cId="947559461" sldId="2147480461"/>
            <ac:spMk id="10" creationId="{8D61C51C-1B86-64A2-850D-2523E0447588}"/>
          </ac:spMkLst>
        </pc:spChg>
      </pc:sldChg>
      <pc:sldChg chg="modSp add mod">
        <pc:chgData name="Singh, Ram Kalpnath" userId="c14bfaac-8bf9-4c55-8a76-f3e4d9d02e19" providerId="ADAL" clId="{2A366E41-416D-4F25-AC56-31AB32E88EC1}" dt="2025-06-06T04:37:50.399" v="847" actId="1076"/>
        <pc:sldMkLst>
          <pc:docMk/>
          <pc:sldMk cId="3624467906" sldId="2147480462"/>
        </pc:sldMkLst>
        <pc:spChg chg="mod">
          <ac:chgData name="Singh, Ram Kalpnath" userId="c14bfaac-8bf9-4c55-8a76-f3e4d9d02e19" providerId="ADAL" clId="{2A366E41-416D-4F25-AC56-31AB32E88EC1}" dt="2025-05-13T12:57:20.568" v="658" actId="20577"/>
          <ac:spMkLst>
            <pc:docMk/>
            <pc:sldMk cId="3624467906" sldId="2147480462"/>
            <ac:spMk id="3" creationId="{8A56E455-E02B-96F5-C2AA-4E4E780CBDBD}"/>
          </ac:spMkLst>
        </pc:spChg>
        <pc:spChg chg="mod">
          <ac:chgData name="Singh, Ram Kalpnath" userId="c14bfaac-8bf9-4c55-8a76-f3e4d9d02e19" providerId="ADAL" clId="{2A366E41-416D-4F25-AC56-31AB32E88EC1}" dt="2025-05-13T13:41:10.294" v="674" actId="6549"/>
          <ac:spMkLst>
            <pc:docMk/>
            <pc:sldMk cId="3624467906" sldId="2147480462"/>
            <ac:spMk id="4" creationId="{D00745B2-75A1-0AC8-4C39-5618D6FF5C1B}"/>
          </ac:spMkLst>
        </pc:spChg>
        <pc:spChg chg="mod">
          <ac:chgData name="Singh, Ram Kalpnath" userId="c14bfaac-8bf9-4c55-8a76-f3e4d9d02e19" providerId="ADAL" clId="{2A366E41-416D-4F25-AC56-31AB32E88EC1}" dt="2025-06-06T04:37:50.399" v="847" actId="1076"/>
          <ac:spMkLst>
            <pc:docMk/>
            <pc:sldMk cId="3624467906" sldId="2147480462"/>
            <ac:spMk id="5" creationId="{14A88BCF-9352-A540-345D-D4C26E14DEBF}"/>
          </ac:spMkLst>
        </pc:spChg>
        <pc:spChg chg="mod">
          <ac:chgData name="Singh, Ram Kalpnath" userId="c14bfaac-8bf9-4c55-8a76-f3e4d9d02e19" providerId="ADAL" clId="{2A366E41-416D-4F25-AC56-31AB32E88EC1}" dt="2025-05-13T13:43:17.689" v="713" actId="20577"/>
          <ac:spMkLst>
            <pc:docMk/>
            <pc:sldMk cId="3624467906" sldId="2147480462"/>
            <ac:spMk id="6" creationId="{C7AB02ED-6B99-D130-88DA-D3AE5E8812C4}"/>
          </ac:spMkLst>
        </pc:spChg>
        <pc:spChg chg="mod">
          <ac:chgData name="Singh, Ram Kalpnath" userId="c14bfaac-8bf9-4c55-8a76-f3e4d9d02e19" providerId="ADAL" clId="{2A366E41-416D-4F25-AC56-31AB32E88EC1}" dt="2025-05-13T12:57:54.268" v="659"/>
          <ac:spMkLst>
            <pc:docMk/>
            <pc:sldMk cId="3624467906" sldId="2147480462"/>
            <ac:spMk id="8" creationId="{BA657787-4731-0A0C-9EFF-BF32F828B6E8}"/>
          </ac:spMkLst>
        </pc:spChg>
        <pc:spChg chg="mod">
          <ac:chgData name="Singh, Ram Kalpnath" userId="c14bfaac-8bf9-4c55-8a76-f3e4d9d02e19" providerId="ADAL" clId="{2A366E41-416D-4F25-AC56-31AB32E88EC1}" dt="2025-05-13T13:47:00.251" v="721"/>
          <ac:spMkLst>
            <pc:docMk/>
            <pc:sldMk cId="3624467906" sldId="2147480462"/>
            <ac:spMk id="10" creationId="{8D61C51C-1B86-64A2-850D-2523E0447588}"/>
          </ac:spMkLst>
        </pc:spChg>
      </pc:sldChg>
      <pc:sldChg chg="modSp add mod">
        <pc:chgData name="Singh, Ram Kalpnath" userId="c14bfaac-8bf9-4c55-8a76-f3e4d9d02e19" providerId="ADAL" clId="{2A366E41-416D-4F25-AC56-31AB32E88EC1}" dt="2025-05-13T16:35:16.368" v="846" actId="108"/>
        <pc:sldMkLst>
          <pc:docMk/>
          <pc:sldMk cId="4040021221" sldId="2147480463"/>
        </pc:sldMkLst>
        <pc:spChg chg="mod">
          <ac:chgData name="Singh, Ram Kalpnath" userId="c14bfaac-8bf9-4c55-8a76-f3e4d9d02e19" providerId="ADAL" clId="{2A366E41-416D-4F25-AC56-31AB32E88EC1}" dt="2025-05-13T13:55:44.435" v="729"/>
          <ac:spMkLst>
            <pc:docMk/>
            <pc:sldMk cId="4040021221" sldId="2147480463"/>
            <ac:spMk id="3" creationId="{8A56E455-E02B-96F5-C2AA-4E4E780CBDBD}"/>
          </ac:spMkLst>
        </pc:spChg>
        <pc:spChg chg="mod">
          <ac:chgData name="Singh, Ram Kalpnath" userId="c14bfaac-8bf9-4c55-8a76-f3e4d9d02e19" providerId="ADAL" clId="{2A366E41-416D-4F25-AC56-31AB32E88EC1}" dt="2025-05-13T15:20:09.732" v="803" actId="14100"/>
          <ac:spMkLst>
            <pc:docMk/>
            <pc:sldMk cId="4040021221" sldId="2147480463"/>
            <ac:spMk id="4" creationId="{D00745B2-75A1-0AC8-4C39-5618D6FF5C1B}"/>
          </ac:spMkLst>
        </pc:spChg>
        <pc:spChg chg="mod">
          <ac:chgData name="Singh, Ram Kalpnath" userId="c14bfaac-8bf9-4c55-8a76-f3e4d9d02e19" providerId="ADAL" clId="{2A366E41-416D-4F25-AC56-31AB32E88EC1}" dt="2025-05-13T15:17:32.619" v="740" actId="6549"/>
          <ac:spMkLst>
            <pc:docMk/>
            <pc:sldMk cId="4040021221" sldId="2147480463"/>
            <ac:spMk id="5" creationId="{14A88BCF-9352-A540-345D-D4C26E14DEBF}"/>
          </ac:spMkLst>
        </pc:spChg>
        <pc:spChg chg="mod">
          <ac:chgData name="Singh, Ram Kalpnath" userId="c14bfaac-8bf9-4c55-8a76-f3e4d9d02e19" providerId="ADAL" clId="{2A366E41-416D-4F25-AC56-31AB32E88EC1}" dt="2025-05-13T15:22:43.607" v="834" actId="20577"/>
          <ac:spMkLst>
            <pc:docMk/>
            <pc:sldMk cId="4040021221" sldId="2147480463"/>
            <ac:spMk id="6" creationId="{C7AB02ED-6B99-D130-88DA-D3AE5E8812C4}"/>
          </ac:spMkLst>
        </pc:spChg>
        <pc:spChg chg="mod">
          <ac:chgData name="Singh, Ram Kalpnath" userId="c14bfaac-8bf9-4c55-8a76-f3e4d9d02e19" providerId="ADAL" clId="{2A366E41-416D-4F25-AC56-31AB32E88EC1}" dt="2025-05-13T13:54:18.203" v="726"/>
          <ac:spMkLst>
            <pc:docMk/>
            <pc:sldMk cId="4040021221" sldId="2147480463"/>
            <ac:spMk id="8" creationId="{BA657787-4731-0A0C-9EFF-BF32F828B6E8}"/>
          </ac:spMkLst>
        </pc:spChg>
        <pc:spChg chg="mod">
          <ac:chgData name="Singh, Ram Kalpnath" userId="c14bfaac-8bf9-4c55-8a76-f3e4d9d02e19" providerId="ADAL" clId="{2A366E41-416D-4F25-AC56-31AB32E88EC1}" dt="2025-05-13T16:35:16.368" v="846" actId="108"/>
          <ac:spMkLst>
            <pc:docMk/>
            <pc:sldMk cId="4040021221" sldId="2147480463"/>
            <ac:spMk id="10" creationId="{8D61C51C-1B86-64A2-850D-2523E0447588}"/>
          </ac:spMkLst>
        </pc:spChg>
      </pc:sldChg>
      <pc:sldChg chg="modSp mod">
        <pc:chgData name="Singh, Ram Kalpnath" userId="c14bfaac-8bf9-4c55-8a76-f3e4d9d02e19" providerId="ADAL" clId="{2A366E41-416D-4F25-AC56-31AB32E88EC1}" dt="2025-06-06T10:52:13.592" v="1375" actId="207"/>
        <pc:sldMkLst>
          <pc:docMk/>
          <pc:sldMk cId="546545660" sldId="2147480469"/>
        </pc:sldMkLst>
        <pc:spChg chg="mod">
          <ac:chgData name="Singh, Ram Kalpnath" userId="c14bfaac-8bf9-4c55-8a76-f3e4d9d02e19" providerId="ADAL" clId="{2A366E41-416D-4F25-AC56-31AB32E88EC1}" dt="2025-06-06T10:52:13.592" v="1375" actId="207"/>
          <ac:spMkLst>
            <pc:docMk/>
            <pc:sldMk cId="546545660" sldId="2147480469"/>
            <ac:spMk id="10" creationId="{9728AF34-E18A-2767-DAE5-2341FAC64F9E}"/>
          </ac:spMkLst>
        </pc:spChg>
      </pc:sldChg>
      <pc:sldChg chg="addSp modSp add mod">
        <pc:chgData name="Singh, Ram Kalpnath" userId="c14bfaac-8bf9-4c55-8a76-f3e4d9d02e19" providerId="ADAL" clId="{2A366E41-416D-4F25-AC56-31AB32E88EC1}" dt="2025-06-06T04:55:46.471" v="893" actId="20577"/>
        <pc:sldMkLst>
          <pc:docMk/>
          <pc:sldMk cId="1309940497" sldId="2147480470"/>
        </pc:sldMkLst>
        <pc:spChg chg="mod">
          <ac:chgData name="Singh, Ram Kalpnath" userId="c14bfaac-8bf9-4c55-8a76-f3e4d9d02e19" providerId="ADAL" clId="{2A366E41-416D-4F25-AC56-31AB32E88EC1}" dt="2025-06-06T04:51:42.579" v="857"/>
          <ac:spMkLst>
            <pc:docMk/>
            <pc:sldMk cId="1309940497" sldId="2147480470"/>
            <ac:spMk id="3" creationId="{0776A742-ED51-E6F5-3285-DC78BC764C31}"/>
          </ac:spMkLst>
        </pc:spChg>
        <pc:spChg chg="mod">
          <ac:chgData name="Singh, Ram Kalpnath" userId="c14bfaac-8bf9-4c55-8a76-f3e4d9d02e19" providerId="ADAL" clId="{2A366E41-416D-4F25-AC56-31AB32E88EC1}" dt="2025-06-06T04:53:19.124" v="866" actId="6549"/>
          <ac:spMkLst>
            <pc:docMk/>
            <pc:sldMk cId="1309940497" sldId="2147480470"/>
            <ac:spMk id="4" creationId="{7AE65DB9-A4EB-6B6E-707D-C817255EDDE5}"/>
          </ac:spMkLst>
        </pc:spChg>
        <pc:spChg chg="mod">
          <ac:chgData name="Singh, Ram Kalpnath" userId="c14bfaac-8bf9-4c55-8a76-f3e4d9d02e19" providerId="ADAL" clId="{2A366E41-416D-4F25-AC56-31AB32E88EC1}" dt="2025-06-06T04:54:49.424" v="879" actId="20577"/>
          <ac:spMkLst>
            <pc:docMk/>
            <pc:sldMk cId="1309940497" sldId="2147480470"/>
            <ac:spMk id="5" creationId="{7646DAAB-53F2-FFD5-3673-0CE674219B3D}"/>
          </ac:spMkLst>
        </pc:spChg>
        <pc:spChg chg="mod">
          <ac:chgData name="Singh, Ram Kalpnath" userId="c14bfaac-8bf9-4c55-8a76-f3e4d9d02e19" providerId="ADAL" clId="{2A366E41-416D-4F25-AC56-31AB32E88EC1}" dt="2025-06-06T04:54:42.987" v="878" actId="14100"/>
          <ac:spMkLst>
            <pc:docMk/>
            <pc:sldMk cId="1309940497" sldId="2147480470"/>
            <ac:spMk id="6" creationId="{BFB94195-9FCD-6EA1-535D-EDA0833E3710}"/>
          </ac:spMkLst>
        </pc:spChg>
        <pc:spChg chg="add mod">
          <ac:chgData name="Singh, Ram Kalpnath" userId="c14bfaac-8bf9-4c55-8a76-f3e4d9d02e19" providerId="ADAL" clId="{2A366E41-416D-4F25-AC56-31AB32E88EC1}" dt="2025-06-06T04:55:46.471" v="893" actId="20577"/>
          <ac:spMkLst>
            <pc:docMk/>
            <pc:sldMk cId="1309940497" sldId="2147480470"/>
            <ac:spMk id="7" creationId="{2DF9F202-C7A8-26F2-A929-5B850AB23957}"/>
          </ac:spMkLst>
        </pc:spChg>
        <pc:spChg chg="mod">
          <ac:chgData name="Singh, Ram Kalpnath" userId="c14bfaac-8bf9-4c55-8a76-f3e4d9d02e19" providerId="ADAL" clId="{2A366E41-416D-4F25-AC56-31AB32E88EC1}" dt="2025-06-06T04:52:28.967" v="862" actId="14100"/>
          <ac:spMkLst>
            <pc:docMk/>
            <pc:sldMk cId="1309940497" sldId="2147480470"/>
            <ac:spMk id="8" creationId="{B55FEE8F-1331-56C1-9BBA-8FDB4ED6AA79}"/>
          </ac:spMkLst>
        </pc:spChg>
        <pc:spChg chg="mod">
          <ac:chgData name="Singh, Ram Kalpnath" userId="c14bfaac-8bf9-4c55-8a76-f3e4d9d02e19" providerId="ADAL" clId="{2A366E41-416D-4F25-AC56-31AB32E88EC1}" dt="2025-06-06T04:55:27.800" v="881" actId="14100"/>
          <ac:spMkLst>
            <pc:docMk/>
            <pc:sldMk cId="1309940497" sldId="2147480470"/>
            <ac:spMk id="9" creationId="{836B00D9-77ED-78EB-1051-52BEA7CA2B7D}"/>
          </ac:spMkLst>
        </pc:spChg>
      </pc:sldChg>
      <pc:sldChg chg="addSp modSp add mod">
        <pc:chgData name="Singh, Ram Kalpnath" userId="c14bfaac-8bf9-4c55-8a76-f3e4d9d02e19" providerId="ADAL" clId="{2A366E41-416D-4F25-AC56-31AB32E88EC1}" dt="2025-06-06T05:23:41.341" v="1078" actId="14100"/>
        <pc:sldMkLst>
          <pc:docMk/>
          <pc:sldMk cId="2604174090" sldId="2147480471"/>
        </pc:sldMkLst>
        <pc:spChg chg="mod">
          <ac:chgData name="Singh, Ram Kalpnath" userId="c14bfaac-8bf9-4c55-8a76-f3e4d9d02e19" providerId="ADAL" clId="{2A366E41-416D-4F25-AC56-31AB32E88EC1}" dt="2025-06-06T05:23:15.325" v="1064"/>
          <ac:spMkLst>
            <pc:docMk/>
            <pc:sldMk cId="2604174090" sldId="2147480471"/>
            <ac:spMk id="3" creationId="{0776A742-ED51-E6F5-3285-DC78BC764C31}"/>
          </ac:spMkLst>
        </pc:spChg>
        <pc:spChg chg="mod">
          <ac:chgData name="Singh, Ram Kalpnath" userId="c14bfaac-8bf9-4c55-8a76-f3e4d9d02e19" providerId="ADAL" clId="{2A366E41-416D-4F25-AC56-31AB32E88EC1}" dt="2025-06-06T05:13:56.813" v="965"/>
          <ac:spMkLst>
            <pc:docMk/>
            <pc:sldMk cId="2604174090" sldId="2147480471"/>
            <ac:spMk id="4" creationId="{7AE65DB9-A4EB-6B6E-707D-C817255EDDE5}"/>
          </ac:spMkLst>
        </pc:spChg>
        <pc:spChg chg="mod">
          <ac:chgData name="Singh, Ram Kalpnath" userId="c14bfaac-8bf9-4c55-8a76-f3e4d9d02e19" providerId="ADAL" clId="{2A366E41-416D-4F25-AC56-31AB32E88EC1}" dt="2025-06-06T05:13:22.788" v="964" actId="1076"/>
          <ac:spMkLst>
            <pc:docMk/>
            <pc:sldMk cId="2604174090" sldId="2147480471"/>
            <ac:spMk id="5" creationId="{7646DAAB-53F2-FFD5-3673-0CE674219B3D}"/>
          </ac:spMkLst>
        </pc:spChg>
        <pc:spChg chg="mod">
          <ac:chgData name="Singh, Ram Kalpnath" userId="c14bfaac-8bf9-4c55-8a76-f3e4d9d02e19" providerId="ADAL" clId="{2A366E41-416D-4F25-AC56-31AB32E88EC1}" dt="2025-06-06T05:19:23.853" v="1038" actId="14100"/>
          <ac:spMkLst>
            <pc:docMk/>
            <pc:sldMk cId="2604174090" sldId="2147480471"/>
            <ac:spMk id="6" creationId="{BFB94195-9FCD-6EA1-535D-EDA0833E3710}"/>
          </ac:spMkLst>
        </pc:spChg>
        <pc:spChg chg="add mod">
          <ac:chgData name="Singh, Ram Kalpnath" userId="c14bfaac-8bf9-4c55-8a76-f3e4d9d02e19" providerId="ADAL" clId="{2A366E41-416D-4F25-AC56-31AB32E88EC1}" dt="2025-06-06T05:23:41.341" v="1078" actId="14100"/>
          <ac:spMkLst>
            <pc:docMk/>
            <pc:sldMk cId="2604174090" sldId="2147480471"/>
            <ac:spMk id="7" creationId="{D57854B1-8E8C-1858-3FF5-2854C4617D69}"/>
          </ac:spMkLst>
        </pc:spChg>
        <pc:spChg chg="mod">
          <ac:chgData name="Singh, Ram Kalpnath" userId="c14bfaac-8bf9-4c55-8a76-f3e4d9d02e19" providerId="ADAL" clId="{2A366E41-416D-4F25-AC56-31AB32E88EC1}" dt="2025-06-06T05:10:18.211" v="923" actId="14100"/>
          <ac:spMkLst>
            <pc:docMk/>
            <pc:sldMk cId="2604174090" sldId="2147480471"/>
            <ac:spMk id="8" creationId="{B55FEE8F-1331-56C1-9BBA-8FDB4ED6AA79}"/>
          </ac:spMkLst>
        </pc:spChg>
        <pc:spChg chg="mod">
          <ac:chgData name="Singh, Ram Kalpnath" userId="c14bfaac-8bf9-4c55-8a76-f3e4d9d02e19" providerId="ADAL" clId="{2A366E41-416D-4F25-AC56-31AB32E88EC1}" dt="2025-06-06T05:22:26.977" v="1062"/>
          <ac:spMkLst>
            <pc:docMk/>
            <pc:sldMk cId="2604174090" sldId="2147480471"/>
            <ac:spMk id="9" creationId="{836B00D9-77ED-78EB-1051-52BEA7CA2B7D}"/>
          </ac:spMkLst>
        </pc:spChg>
      </pc:sldChg>
      <pc:sldChg chg="modSp add mod">
        <pc:chgData name="Singh, Ram Kalpnath" userId="c14bfaac-8bf9-4c55-8a76-f3e4d9d02e19" providerId="ADAL" clId="{2A366E41-416D-4F25-AC56-31AB32E88EC1}" dt="2025-06-06T06:11:41.060" v="1125" actId="14100"/>
        <pc:sldMkLst>
          <pc:docMk/>
          <pc:sldMk cId="3136865470" sldId="2147480472"/>
        </pc:sldMkLst>
        <pc:spChg chg="mod">
          <ac:chgData name="Singh, Ram Kalpnath" userId="c14bfaac-8bf9-4c55-8a76-f3e4d9d02e19" providerId="ADAL" clId="{2A366E41-416D-4F25-AC56-31AB32E88EC1}" dt="2025-06-06T06:01:01.182" v="1088" actId="6549"/>
          <ac:spMkLst>
            <pc:docMk/>
            <pc:sldMk cId="3136865470" sldId="2147480472"/>
            <ac:spMk id="3" creationId="{0776A742-ED51-E6F5-3285-DC78BC764C31}"/>
          </ac:spMkLst>
        </pc:spChg>
        <pc:spChg chg="mod">
          <ac:chgData name="Singh, Ram Kalpnath" userId="c14bfaac-8bf9-4c55-8a76-f3e4d9d02e19" providerId="ADAL" clId="{2A366E41-416D-4F25-AC56-31AB32E88EC1}" dt="2025-06-06T06:06:44.417" v="1104"/>
          <ac:spMkLst>
            <pc:docMk/>
            <pc:sldMk cId="3136865470" sldId="2147480472"/>
            <ac:spMk id="4" creationId="{7AE65DB9-A4EB-6B6E-707D-C817255EDDE5}"/>
          </ac:spMkLst>
        </pc:spChg>
        <pc:spChg chg="mod">
          <ac:chgData name="Singh, Ram Kalpnath" userId="c14bfaac-8bf9-4c55-8a76-f3e4d9d02e19" providerId="ADAL" clId="{2A366E41-416D-4F25-AC56-31AB32E88EC1}" dt="2025-06-06T06:04:34.190" v="1103" actId="20577"/>
          <ac:spMkLst>
            <pc:docMk/>
            <pc:sldMk cId="3136865470" sldId="2147480472"/>
            <ac:spMk id="5" creationId="{7646DAAB-53F2-FFD5-3673-0CE674219B3D}"/>
          </ac:spMkLst>
        </pc:spChg>
        <pc:spChg chg="mod">
          <ac:chgData name="Singh, Ram Kalpnath" userId="c14bfaac-8bf9-4c55-8a76-f3e4d9d02e19" providerId="ADAL" clId="{2A366E41-416D-4F25-AC56-31AB32E88EC1}" dt="2025-06-06T06:08:37.667" v="1117"/>
          <ac:spMkLst>
            <pc:docMk/>
            <pc:sldMk cId="3136865470" sldId="2147480472"/>
            <ac:spMk id="6" creationId="{BFB94195-9FCD-6EA1-535D-EDA0833E3710}"/>
          </ac:spMkLst>
        </pc:spChg>
        <pc:spChg chg="mod">
          <ac:chgData name="Singh, Ram Kalpnath" userId="c14bfaac-8bf9-4c55-8a76-f3e4d9d02e19" providerId="ADAL" clId="{2A366E41-416D-4F25-AC56-31AB32E88EC1}" dt="2025-06-06T06:01:29.571" v="1090" actId="6549"/>
          <ac:spMkLst>
            <pc:docMk/>
            <pc:sldMk cId="3136865470" sldId="2147480472"/>
            <ac:spMk id="8" creationId="{B55FEE8F-1331-56C1-9BBA-8FDB4ED6AA79}"/>
          </ac:spMkLst>
        </pc:spChg>
        <pc:spChg chg="mod">
          <ac:chgData name="Singh, Ram Kalpnath" userId="c14bfaac-8bf9-4c55-8a76-f3e4d9d02e19" providerId="ADAL" clId="{2A366E41-416D-4F25-AC56-31AB32E88EC1}" dt="2025-06-06T06:11:41.060" v="1125" actId="14100"/>
          <ac:spMkLst>
            <pc:docMk/>
            <pc:sldMk cId="3136865470" sldId="2147480472"/>
            <ac:spMk id="9" creationId="{836B00D9-77ED-78EB-1051-52BEA7CA2B7D}"/>
          </ac:spMkLst>
        </pc:spChg>
      </pc:sldChg>
      <pc:sldChg chg="modSp add mod">
        <pc:chgData name="Singh, Ram Kalpnath" userId="c14bfaac-8bf9-4c55-8a76-f3e4d9d02e19" providerId="ADAL" clId="{2A366E41-416D-4F25-AC56-31AB32E88EC1}" dt="2025-06-06T06:37:04.459" v="1205" actId="20577"/>
        <pc:sldMkLst>
          <pc:docMk/>
          <pc:sldMk cId="2408742120" sldId="2147480473"/>
        </pc:sldMkLst>
        <pc:spChg chg="mod">
          <ac:chgData name="Singh, Ram Kalpnath" userId="c14bfaac-8bf9-4c55-8a76-f3e4d9d02e19" providerId="ADAL" clId="{2A366E41-416D-4F25-AC56-31AB32E88EC1}" dt="2025-06-06T06:24:47.678" v="1148" actId="20577"/>
          <ac:spMkLst>
            <pc:docMk/>
            <pc:sldMk cId="2408742120" sldId="2147480473"/>
            <ac:spMk id="3" creationId="{0776A742-ED51-E6F5-3285-DC78BC764C31}"/>
          </ac:spMkLst>
        </pc:spChg>
        <pc:spChg chg="mod">
          <ac:chgData name="Singh, Ram Kalpnath" userId="c14bfaac-8bf9-4c55-8a76-f3e4d9d02e19" providerId="ADAL" clId="{2A366E41-416D-4F25-AC56-31AB32E88EC1}" dt="2025-06-06T06:29:19.962" v="1172" actId="6549"/>
          <ac:spMkLst>
            <pc:docMk/>
            <pc:sldMk cId="2408742120" sldId="2147480473"/>
            <ac:spMk id="4" creationId="{7AE65DB9-A4EB-6B6E-707D-C817255EDDE5}"/>
          </ac:spMkLst>
        </pc:spChg>
        <pc:spChg chg="mod">
          <ac:chgData name="Singh, Ram Kalpnath" userId="c14bfaac-8bf9-4c55-8a76-f3e4d9d02e19" providerId="ADAL" clId="{2A366E41-416D-4F25-AC56-31AB32E88EC1}" dt="2025-06-06T06:28:11.266" v="1171" actId="20577"/>
          <ac:spMkLst>
            <pc:docMk/>
            <pc:sldMk cId="2408742120" sldId="2147480473"/>
            <ac:spMk id="5" creationId="{7646DAAB-53F2-FFD5-3673-0CE674219B3D}"/>
          </ac:spMkLst>
        </pc:spChg>
        <pc:spChg chg="mod">
          <ac:chgData name="Singh, Ram Kalpnath" userId="c14bfaac-8bf9-4c55-8a76-f3e4d9d02e19" providerId="ADAL" clId="{2A366E41-416D-4F25-AC56-31AB32E88EC1}" dt="2025-06-06T06:32:43.037" v="1181" actId="20577"/>
          <ac:spMkLst>
            <pc:docMk/>
            <pc:sldMk cId="2408742120" sldId="2147480473"/>
            <ac:spMk id="6" creationId="{BFB94195-9FCD-6EA1-535D-EDA0833E3710}"/>
          </ac:spMkLst>
        </pc:spChg>
        <pc:spChg chg="mod">
          <ac:chgData name="Singh, Ram Kalpnath" userId="c14bfaac-8bf9-4c55-8a76-f3e4d9d02e19" providerId="ADAL" clId="{2A366E41-416D-4F25-AC56-31AB32E88EC1}" dt="2025-06-06T06:37:04.459" v="1205" actId="20577"/>
          <ac:spMkLst>
            <pc:docMk/>
            <pc:sldMk cId="2408742120" sldId="2147480473"/>
            <ac:spMk id="7" creationId="{D57854B1-8E8C-1858-3FF5-2854C4617D69}"/>
          </ac:spMkLst>
        </pc:spChg>
        <pc:spChg chg="mod">
          <ac:chgData name="Singh, Ram Kalpnath" userId="c14bfaac-8bf9-4c55-8a76-f3e4d9d02e19" providerId="ADAL" clId="{2A366E41-416D-4F25-AC56-31AB32E88EC1}" dt="2025-06-06T06:27:23.149" v="1153" actId="20577"/>
          <ac:spMkLst>
            <pc:docMk/>
            <pc:sldMk cId="2408742120" sldId="2147480473"/>
            <ac:spMk id="8" creationId="{B55FEE8F-1331-56C1-9BBA-8FDB4ED6AA79}"/>
          </ac:spMkLst>
        </pc:spChg>
        <pc:spChg chg="mod">
          <ac:chgData name="Singh, Ram Kalpnath" userId="c14bfaac-8bf9-4c55-8a76-f3e4d9d02e19" providerId="ADAL" clId="{2A366E41-416D-4F25-AC56-31AB32E88EC1}" dt="2025-06-06T06:36:31.831" v="1192" actId="6549"/>
          <ac:spMkLst>
            <pc:docMk/>
            <pc:sldMk cId="2408742120" sldId="2147480473"/>
            <ac:spMk id="9" creationId="{836B00D9-77ED-78EB-1051-52BEA7CA2B7D}"/>
          </ac:spMkLst>
        </pc:spChg>
      </pc:sldChg>
      <pc:sldChg chg="modSp mod">
        <pc:chgData name="Singh, Ram Kalpnath" userId="c14bfaac-8bf9-4c55-8a76-f3e4d9d02e19" providerId="ADAL" clId="{2A366E41-416D-4F25-AC56-31AB32E88EC1}" dt="2025-06-06T10:17:15.041" v="1217" actId="207"/>
        <pc:sldMkLst>
          <pc:docMk/>
          <pc:sldMk cId="1879566691" sldId="2147480474"/>
        </pc:sldMkLst>
        <pc:spChg chg="mod">
          <ac:chgData name="Singh, Ram Kalpnath" userId="c14bfaac-8bf9-4c55-8a76-f3e4d9d02e19" providerId="ADAL" clId="{2A366E41-416D-4F25-AC56-31AB32E88EC1}" dt="2025-06-06T10:17:15.041" v="1217" actId="207"/>
          <ac:spMkLst>
            <pc:docMk/>
            <pc:sldMk cId="1879566691" sldId="2147480474"/>
            <ac:spMk id="10" creationId="{B9C3F54D-5597-4918-75D3-096B2BD447BF}"/>
          </ac:spMkLst>
        </pc:spChg>
      </pc:sldChg>
      <pc:sldChg chg="modSp mod">
        <pc:chgData name="Singh, Ram Kalpnath" userId="c14bfaac-8bf9-4c55-8a76-f3e4d9d02e19" providerId="ADAL" clId="{2A366E41-416D-4F25-AC56-31AB32E88EC1}" dt="2025-06-06T10:13:28.078" v="1207" actId="207"/>
        <pc:sldMkLst>
          <pc:docMk/>
          <pc:sldMk cId="4173253307" sldId="2147480475"/>
        </pc:sldMkLst>
        <pc:spChg chg="mod">
          <ac:chgData name="Singh, Ram Kalpnath" userId="c14bfaac-8bf9-4c55-8a76-f3e4d9d02e19" providerId="ADAL" clId="{2A366E41-416D-4F25-AC56-31AB32E88EC1}" dt="2025-06-06T10:13:28.078" v="1207" actId="207"/>
          <ac:spMkLst>
            <pc:docMk/>
            <pc:sldMk cId="4173253307" sldId="2147480475"/>
            <ac:spMk id="7" creationId="{F17A2F2B-581C-E773-E595-CBC0005F48DC}"/>
          </ac:spMkLst>
        </pc:spChg>
      </pc:sldChg>
      <pc:sldChg chg="modSp mod">
        <pc:chgData name="Singh, Ram Kalpnath" userId="c14bfaac-8bf9-4c55-8a76-f3e4d9d02e19" providerId="ADAL" clId="{2A366E41-416D-4F25-AC56-31AB32E88EC1}" dt="2025-06-06T10:11:39.049" v="1206" actId="207"/>
        <pc:sldMkLst>
          <pc:docMk/>
          <pc:sldMk cId="3911481354" sldId="2147480476"/>
        </pc:sldMkLst>
        <pc:spChg chg="mod">
          <ac:chgData name="Singh, Ram Kalpnath" userId="c14bfaac-8bf9-4c55-8a76-f3e4d9d02e19" providerId="ADAL" clId="{2A366E41-416D-4F25-AC56-31AB32E88EC1}" dt="2025-06-06T10:11:39.049" v="1206" actId="207"/>
          <ac:spMkLst>
            <pc:docMk/>
            <pc:sldMk cId="3911481354" sldId="2147480476"/>
            <ac:spMk id="7" creationId="{E122EADD-1ED3-0F8E-AB59-39C811651FAA}"/>
          </ac:spMkLst>
        </pc:spChg>
      </pc:sldChg>
      <pc:sldChg chg="addSp delSp modSp add del mod">
        <pc:chgData name="Singh, Ram Kalpnath" userId="c14bfaac-8bf9-4c55-8a76-f3e4d9d02e19" providerId="ADAL" clId="{2A366E41-416D-4F25-AC56-31AB32E88EC1}" dt="2025-06-06T10:18:09.847" v="1218" actId="47"/>
        <pc:sldMkLst>
          <pc:docMk/>
          <pc:sldMk cId="1766587458" sldId="2147480477"/>
        </pc:sldMkLst>
      </pc:sldChg>
      <pc:sldChg chg="modSp add mod">
        <pc:chgData name="Singh, Ram Kalpnath" userId="c14bfaac-8bf9-4c55-8a76-f3e4d9d02e19" providerId="ADAL" clId="{2A366E41-416D-4F25-AC56-31AB32E88EC1}" dt="2025-06-06T10:45:16.344" v="1298" actId="20577"/>
        <pc:sldMkLst>
          <pc:docMk/>
          <pc:sldMk cId="3180382942" sldId="2147480477"/>
        </pc:sldMkLst>
        <pc:spChg chg="mod">
          <ac:chgData name="Singh, Ram Kalpnath" userId="c14bfaac-8bf9-4c55-8a76-f3e4d9d02e19" providerId="ADAL" clId="{2A366E41-416D-4F25-AC56-31AB32E88EC1}" dt="2025-06-06T10:45:16.344" v="1298" actId="20577"/>
          <ac:spMkLst>
            <pc:docMk/>
            <pc:sldMk cId="3180382942" sldId="2147480477"/>
            <ac:spMk id="3" creationId="{0776A742-ED51-E6F5-3285-DC78BC764C31}"/>
          </ac:spMkLst>
        </pc:spChg>
        <pc:spChg chg="mod">
          <ac:chgData name="Singh, Ram Kalpnath" userId="c14bfaac-8bf9-4c55-8a76-f3e4d9d02e19" providerId="ADAL" clId="{2A366E41-416D-4F25-AC56-31AB32E88EC1}" dt="2025-06-06T10:42:17.163" v="1273" actId="20577"/>
          <ac:spMkLst>
            <pc:docMk/>
            <pc:sldMk cId="3180382942" sldId="2147480477"/>
            <ac:spMk id="4" creationId="{7AE65DB9-A4EB-6B6E-707D-C817255EDDE5}"/>
          </ac:spMkLst>
        </pc:spChg>
        <pc:spChg chg="mod">
          <ac:chgData name="Singh, Ram Kalpnath" userId="c14bfaac-8bf9-4c55-8a76-f3e4d9d02e19" providerId="ADAL" clId="{2A366E41-416D-4F25-AC56-31AB32E88EC1}" dt="2025-06-06T10:42:35.927" v="1275" actId="14100"/>
          <ac:spMkLst>
            <pc:docMk/>
            <pc:sldMk cId="3180382942" sldId="2147480477"/>
            <ac:spMk id="5" creationId="{7646DAAB-53F2-FFD5-3673-0CE674219B3D}"/>
          </ac:spMkLst>
        </pc:spChg>
        <pc:spChg chg="mod">
          <ac:chgData name="Singh, Ram Kalpnath" userId="c14bfaac-8bf9-4c55-8a76-f3e4d9d02e19" providerId="ADAL" clId="{2A366E41-416D-4F25-AC56-31AB32E88EC1}" dt="2025-06-06T10:44:58.570" v="1294" actId="108"/>
          <ac:spMkLst>
            <pc:docMk/>
            <pc:sldMk cId="3180382942" sldId="2147480477"/>
            <ac:spMk id="6" creationId="{BFB94195-9FCD-6EA1-535D-EDA0833E3710}"/>
          </ac:spMkLst>
        </pc:spChg>
        <pc:spChg chg="mod">
          <ac:chgData name="Singh, Ram Kalpnath" userId="c14bfaac-8bf9-4c55-8a76-f3e4d9d02e19" providerId="ADAL" clId="{2A366E41-416D-4F25-AC56-31AB32E88EC1}" dt="2025-06-06T10:40:49.585" v="1248" actId="20577"/>
          <ac:spMkLst>
            <pc:docMk/>
            <pc:sldMk cId="3180382942" sldId="2147480477"/>
            <ac:spMk id="7" creationId="{D57854B1-8E8C-1858-3FF5-2854C4617D69}"/>
          </ac:spMkLst>
        </pc:spChg>
        <pc:spChg chg="mod">
          <ac:chgData name="Singh, Ram Kalpnath" userId="c14bfaac-8bf9-4c55-8a76-f3e4d9d02e19" providerId="ADAL" clId="{2A366E41-416D-4F25-AC56-31AB32E88EC1}" dt="2025-06-06T10:41:20.976" v="1250" actId="20577"/>
          <ac:spMkLst>
            <pc:docMk/>
            <pc:sldMk cId="3180382942" sldId="2147480477"/>
            <ac:spMk id="8" creationId="{B55FEE8F-1331-56C1-9BBA-8FDB4ED6AA79}"/>
          </ac:spMkLst>
        </pc:spChg>
        <pc:spChg chg="mod">
          <ac:chgData name="Singh, Ram Kalpnath" userId="c14bfaac-8bf9-4c55-8a76-f3e4d9d02e19" providerId="ADAL" clId="{2A366E41-416D-4F25-AC56-31AB32E88EC1}" dt="2025-06-06T10:43:10.033" v="1280" actId="20577"/>
          <ac:spMkLst>
            <pc:docMk/>
            <pc:sldMk cId="3180382942" sldId="2147480477"/>
            <ac:spMk id="9" creationId="{836B00D9-77ED-78EB-1051-52BEA7CA2B7D}"/>
          </ac:spMkLst>
        </pc:spChg>
      </pc:sldChg>
      <pc:sldChg chg="modSp add mod">
        <pc:chgData name="Singh, Ram Kalpnath" userId="c14bfaac-8bf9-4c55-8a76-f3e4d9d02e19" providerId="ADAL" clId="{2A366E41-416D-4F25-AC56-31AB32E88EC1}" dt="2025-06-06T10:51:45.828" v="1374" actId="20577"/>
        <pc:sldMkLst>
          <pc:docMk/>
          <pc:sldMk cId="885171934" sldId="2147480478"/>
        </pc:sldMkLst>
        <pc:spChg chg="mod">
          <ac:chgData name="Singh, Ram Kalpnath" userId="c14bfaac-8bf9-4c55-8a76-f3e4d9d02e19" providerId="ADAL" clId="{2A366E41-416D-4F25-AC56-31AB32E88EC1}" dt="2025-06-06T10:46:37.608" v="1304" actId="20577"/>
          <ac:spMkLst>
            <pc:docMk/>
            <pc:sldMk cId="885171934" sldId="2147480478"/>
            <ac:spMk id="3" creationId="{0776A742-ED51-E6F5-3285-DC78BC764C31}"/>
          </ac:spMkLst>
        </pc:spChg>
        <pc:spChg chg="mod">
          <ac:chgData name="Singh, Ram Kalpnath" userId="c14bfaac-8bf9-4c55-8a76-f3e4d9d02e19" providerId="ADAL" clId="{2A366E41-416D-4F25-AC56-31AB32E88EC1}" dt="2025-06-06T10:50:23.580" v="1364" actId="6549"/>
          <ac:spMkLst>
            <pc:docMk/>
            <pc:sldMk cId="885171934" sldId="2147480478"/>
            <ac:spMk id="4" creationId="{7AE65DB9-A4EB-6B6E-707D-C817255EDDE5}"/>
          </ac:spMkLst>
        </pc:spChg>
        <pc:spChg chg="mod">
          <ac:chgData name="Singh, Ram Kalpnath" userId="c14bfaac-8bf9-4c55-8a76-f3e4d9d02e19" providerId="ADAL" clId="{2A366E41-416D-4F25-AC56-31AB32E88EC1}" dt="2025-06-06T10:49:06.825" v="1313" actId="6549"/>
          <ac:spMkLst>
            <pc:docMk/>
            <pc:sldMk cId="885171934" sldId="2147480478"/>
            <ac:spMk id="5" creationId="{7646DAAB-53F2-FFD5-3673-0CE674219B3D}"/>
          </ac:spMkLst>
        </pc:spChg>
        <pc:spChg chg="mod">
          <ac:chgData name="Singh, Ram Kalpnath" userId="c14bfaac-8bf9-4c55-8a76-f3e4d9d02e19" providerId="ADAL" clId="{2A366E41-416D-4F25-AC56-31AB32E88EC1}" dt="2025-06-06T10:51:45.828" v="1374" actId="20577"/>
          <ac:spMkLst>
            <pc:docMk/>
            <pc:sldMk cId="885171934" sldId="2147480478"/>
            <ac:spMk id="6" creationId="{BFB94195-9FCD-6EA1-535D-EDA0833E3710}"/>
          </ac:spMkLst>
        </pc:spChg>
        <pc:spChg chg="mod">
          <ac:chgData name="Singh, Ram Kalpnath" userId="c14bfaac-8bf9-4c55-8a76-f3e4d9d02e19" providerId="ADAL" clId="{2A366E41-416D-4F25-AC56-31AB32E88EC1}" dt="2025-06-06T10:48:01.886" v="1306"/>
          <ac:spMkLst>
            <pc:docMk/>
            <pc:sldMk cId="885171934" sldId="2147480478"/>
            <ac:spMk id="8" creationId="{B55FEE8F-1331-56C1-9BBA-8FDB4ED6AA79}"/>
          </ac:spMkLst>
        </pc:spChg>
        <pc:spChg chg="mod">
          <ac:chgData name="Singh, Ram Kalpnath" userId="c14bfaac-8bf9-4c55-8a76-f3e4d9d02e19" providerId="ADAL" clId="{2A366E41-416D-4F25-AC56-31AB32E88EC1}" dt="2025-06-06T10:50:57.946" v="1369" actId="20577"/>
          <ac:spMkLst>
            <pc:docMk/>
            <pc:sldMk cId="885171934" sldId="2147480478"/>
            <ac:spMk id="9" creationId="{836B00D9-77ED-78EB-1051-52BEA7CA2B7D}"/>
          </ac:spMkLst>
        </pc:spChg>
      </pc:sldChg>
    </pc:docChg>
  </pc:docChgLst>
  <pc:docChgLst>
    <pc:chgData clId="Web-{E15747D0-7FFF-4835-AC48-3084A84AF8F0}"/>
    <pc:docChg chg="mod">
      <pc:chgData name="" userId="" providerId="" clId="Web-{E15747D0-7FFF-4835-AC48-3084A84AF8F0}" dt="2025-05-07T08:36:27.767" v="0"/>
      <pc:docMkLst>
        <pc:docMk/>
      </pc:docMkLst>
    </pc:docChg>
  </pc:docChgLst>
  <pc:docChgLst>
    <pc:chgData name="Kumar, Rajnish" userId="S::rajnkumar@deloitte.com::dcd8116d-7ee8-4dbf-8f56-038c2219e7ba" providerId="AD" clId="Web-{A58B53E3-5A84-F59D-8648-6F16165274B5}"/>
    <pc:docChg chg="mod modSld">
      <pc:chgData name="Kumar, Rajnish" userId="S::rajnkumar@deloitte.com::dcd8116d-7ee8-4dbf-8f56-038c2219e7ba" providerId="AD" clId="Web-{A58B53E3-5A84-F59D-8648-6F16165274B5}" dt="2025-06-12T05:38:47.367" v="156"/>
      <pc:docMkLst>
        <pc:docMk/>
      </pc:docMkLst>
      <pc:sldChg chg="modSp">
        <pc:chgData name="Kumar, Rajnish" userId="S::rajnkumar@deloitte.com::dcd8116d-7ee8-4dbf-8f56-038c2219e7ba" providerId="AD" clId="Web-{A58B53E3-5A84-F59D-8648-6F16165274B5}" dt="2025-06-12T05:26:01.382" v="153" actId="20577"/>
        <pc:sldMkLst>
          <pc:docMk/>
          <pc:sldMk cId="1290625696" sldId="2147480496"/>
        </pc:sldMkLst>
        <pc:spChg chg="mod">
          <ac:chgData name="Kumar, Rajnish" userId="S::rajnkumar@deloitte.com::dcd8116d-7ee8-4dbf-8f56-038c2219e7ba" providerId="AD" clId="Web-{A58B53E3-5A84-F59D-8648-6F16165274B5}" dt="2025-06-12T05:26:01.382" v="153" actId="20577"/>
          <ac:spMkLst>
            <pc:docMk/>
            <pc:sldMk cId="1290625696" sldId="2147480496"/>
            <ac:spMk id="5" creationId="{0652AF3E-D19C-1D36-1FD5-AD2606FE7869}"/>
          </ac:spMkLst>
        </pc:spChg>
      </pc:sldChg>
      <pc:sldChg chg="modSp">
        <pc:chgData name="Kumar, Rajnish" userId="S::rajnkumar@deloitte.com::dcd8116d-7ee8-4dbf-8f56-038c2219e7ba" providerId="AD" clId="Web-{A58B53E3-5A84-F59D-8648-6F16165274B5}" dt="2025-06-12T05:33:45.989" v="155" actId="20577"/>
        <pc:sldMkLst>
          <pc:docMk/>
          <pc:sldMk cId="3196261279" sldId="2147480497"/>
        </pc:sldMkLst>
        <pc:spChg chg="mod">
          <ac:chgData name="Kumar, Rajnish" userId="S::rajnkumar@deloitte.com::dcd8116d-7ee8-4dbf-8f56-038c2219e7ba" providerId="AD" clId="Web-{A58B53E3-5A84-F59D-8648-6F16165274B5}" dt="2025-06-12T05:33:45.989" v="155" actId="20577"/>
          <ac:spMkLst>
            <pc:docMk/>
            <pc:sldMk cId="3196261279" sldId="2147480497"/>
            <ac:spMk id="9" creationId="{570191DF-F96F-8085-D663-4C5FDF81742D}"/>
          </ac:spMkLst>
        </pc:spChg>
      </pc:sldChg>
      <pc:sldChg chg="modSp">
        <pc:chgData name="Kumar, Rajnish" userId="S::rajnkumar@deloitte.com::dcd8116d-7ee8-4dbf-8f56-038c2219e7ba" providerId="AD" clId="Web-{A58B53E3-5A84-F59D-8648-6F16165274B5}" dt="2025-06-12T05:20:28.830" v="149" actId="20577"/>
        <pc:sldMkLst>
          <pc:docMk/>
          <pc:sldMk cId="1334608779" sldId="2147480505"/>
        </pc:sldMkLst>
        <pc:spChg chg="mod">
          <ac:chgData name="Kumar, Rajnish" userId="S::rajnkumar@deloitte.com::dcd8116d-7ee8-4dbf-8f56-038c2219e7ba" providerId="AD" clId="Web-{A58B53E3-5A84-F59D-8648-6F16165274B5}" dt="2025-06-12T05:18:44.152" v="93" actId="20577"/>
          <ac:spMkLst>
            <pc:docMk/>
            <pc:sldMk cId="1334608779" sldId="2147480505"/>
            <ac:spMk id="3" creationId="{B1BF5C9A-1D0E-9C70-8CBA-17A486EBE0AD}"/>
          </ac:spMkLst>
        </pc:spChg>
        <pc:spChg chg="mod">
          <ac:chgData name="Kumar, Rajnish" userId="S::rajnkumar@deloitte.com::dcd8116d-7ee8-4dbf-8f56-038c2219e7ba" providerId="AD" clId="Web-{A58B53E3-5A84-F59D-8648-6F16165274B5}" dt="2025-06-12T05:18:08.603" v="74" actId="20577"/>
          <ac:spMkLst>
            <pc:docMk/>
            <pc:sldMk cId="1334608779" sldId="2147480505"/>
            <ac:spMk id="8" creationId="{F609D87D-0EED-EA9A-83EA-77C69157B647}"/>
          </ac:spMkLst>
        </pc:spChg>
        <pc:spChg chg="mod">
          <ac:chgData name="Kumar, Rajnish" userId="S::rajnkumar@deloitte.com::dcd8116d-7ee8-4dbf-8f56-038c2219e7ba" providerId="AD" clId="Web-{A58B53E3-5A84-F59D-8648-6F16165274B5}" dt="2025-06-12T05:20:28.830" v="149" actId="20577"/>
          <ac:spMkLst>
            <pc:docMk/>
            <pc:sldMk cId="1334608779" sldId="2147480505"/>
            <ac:spMk id="9" creationId="{2A54431C-AD32-66B6-01C7-1C1786DB112B}"/>
          </ac:spMkLst>
        </pc:spChg>
      </pc:sldChg>
    </pc:docChg>
  </pc:docChgLst>
  <pc:docChgLst>
    <pc:chgData name="Prabhu, Vinayaka" userId="244c0f7f-068c-4874-810c-85130d4cc1b0" providerId="ADAL" clId="{A389B8C9-9A19-401B-B684-9F4BB8EE9B6F}"/>
    <pc:docChg chg="undo custSel addSld modSld">
      <pc:chgData name="Prabhu, Vinayaka" userId="244c0f7f-068c-4874-810c-85130d4cc1b0" providerId="ADAL" clId="{A389B8C9-9A19-401B-B684-9F4BB8EE9B6F}" dt="2025-06-10T08:03:19.939" v="99" actId="12"/>
      <pc:docMkLst>
        <pc:docMk/>
      </pc:docMkLst>
      <pc:sldChg chg="addSp delSp modSp add mod">
        <pc:chgData name="Prabhu, Vinayaka" userId="244c0f7f-068c-4874-810c-85130d4cc1b0" providerId="ADAL" clId="{A389B8C9-9A19-401B-B684-9F4BB8EE9B6F}" dt="2025-06-10T08:03:19.939" v="99" actId="12"/>
        <pc:sldMkLst>
          <pc:docMk/>
          <pc:sldMk cId="2274950264" sldId="2147480506"/>
        </pc:sldMkLst>
        <pc:spChg chg="mod">
          <ac:chgData name="Prabhu, Vinayaka" userId="244c0f7f-068c-4874-810c-85130d4cc1b0" providerId="ADAL" clId="{A389B8C9-9A19-401B-B684-9F4BB8EE9B6F}" dt="2025-06-10T07:59:11.643" v="72" actId="20577"/>
          <ac:spMkLst>
            <pc:docMk/>
            <pc:sldMk cId="2274950264" sldId="2147480506"/>
            <ac:spMk id="3" creationId="{B111A3FF-EF71-DEF8-0FA5-72FAD72AB455}"/>
          </ac:spMkLst>
        </pc:spChg>
        <pc:spChg chg="mod">
          <ac:chgData name="Prabhu, Vinayaka" userId="244c0f7f-068c-4874-810c-85130d4cc1b0" providerId="ADAL" clId="{A389B8C9-9A19-401B-B684-9F4BB8EE9B6F}" dt="2025-06-10T08:02:22.495" v="94"/>
          <ac:spMkLst>
            <pc:docMk/>
            <pc:sldMk cId="2274950264" sldId="2147480506"/>
            <ac:spMk id="4" creationId="{298391D3-2830-C502-EB45-7BCE134C710D}"/>
          </ac:spMkLst>
        </pc:spChg>
        <pc:spChg chg="mod">
          <ac:chgData name="Prabhu, Vinayaka" userId="244c0f7f-068c-4874-810c-85130d4cc1b0" providerId="ADAL" clId="{A389B8C9-9A19-401B-B684-9F4BB8EE9B6F}" dt="2025-06-10T08:02:00.658" v="92" actId="5793"/>
          <ac:spMkLst>
            <pc:docMk/>
            <pc:sldMk cId="2274950264" sldId="2147480506"/>
            <ac:spMk id="5" creationId="{8B5DE107-9A72-25A5-0238-8CD6CEADCC15}"/>
          </ac:spMkLst>
        </pc:spChg>
        <pc:spChg chg="mod">
          <ac:chgData name="Prabhu, Vinayaka" userId="244c0f7f-068c-4874-810c-85130d4cc1b0" providerId="ADAL" clId="{A389B8C9-9A19-401B-B684-9F4BB8EE9B6F}" dt="2025-06-10T08:02:33.739" v="95"/>
          <ac:spMkLst>
            <pc:docMk/>
            <pc:sldMk cId="2274950264" sldId="2147480506"/>
            <ac:spMk id="6" creationId="{3BC7BD0C-806D-DF2F-D10A-B42D266BB5CA}"/>
          </ac:spMkLst>
        </pc:spChg>
        <pc:spChg chg="mod">
          <ac:chgData name="Prabhu, Vinayaka" userId="244c0f7f-068c-4874-810c-85130d4cc1b0" providerId="ADAL" clId="{A389B8C9-9A19-401B-B684-9F4BB8EE9B6F}" dt="2025-06-10T07:58:07.830" v="13" actId="20577"/>
          <ac:spMkLst>
            <pc:docMk/>
            <pc:sldMk cId="2274950264" sldId="2147480506"/>
            <ac:spMk id="7" creationId="{77E2100E-B9DC-B4BF-F991-8B3DDD5E026C}"/>
          </ac:spMkLst>
        </pc:spChg>
        <pc:spChg chg="mod">
          <ac:chgData name="Prabhu, Vinayaka" userId="244c0f7f-068c-4874-810c-85130d4cc1b0" providerId="ADAL" clId="{A389B8C9-9A19-401B-B684-9F4BB8EE9B6F}" dt="2025-06-10T08:01:09.562" v="81"/>
          <ac:spMkLst>
            <pc:docMk/>
            <pc:sldMk cId="2274950264" sldId="2147480506"/>
            <ac:spMk id="8" creationId="{23A34715-EC78-F251-9246-76B522027CF8}"/>
          </ac:spMkLst>
        </pc:spChg>
        <pc:spChg chg="mod">
          <ac:chgData name="Prabhu, Vinayaka" userId="244c0f7f-068c-4874-810c-85130d4cc1b0" providerId="ADAL" clId="{A389B8C9-9A19-401B-B684-9F4BB8EE9B6F}" dt="2025-06-10T08:03:19.939" v="99" actId="12"/>
          <ac:spMkLst>
            <pc:docMk/>
            <pc:sldMk cId="2274950264" sldId="2147480506"/>
            <ac:spMk id="9" creationId="{6F78D43A-0C41-4641-9EC8-76AF2FBFDC6E}"/>
          </ac:spMkLst>
        </pc:spChg>
      </pc:sldChg>
    </pc:docChg>
  </pc:docChgLst>
  <pc:docChgLst>
    <pc:chgData name="bajjuri, uday" userId="S::buday@deloitte.com::025fb0ba-a4ce-4a23-96ae-073505eee83b" providerId="AD" clId="Web-{C99059AB-BA1B-F9F9-5437-30E9E9643A57}"/>
    <pc:docChg chg="addSld modSld sldOrd modSection">
      <pc:chgData name="bajjuri, uday" userId="S::buday@deloitte.com::025fb0ba-a4ce-4a23-96ae-073505eee83b" providerId="AD" clId="Web-{C99059AB-BA1B-F9F9-5437-30E9E9643A57}" dt="2025-06-06T10:31:33.401" v="587" actId="20577"/>
      <pc:docMkLst>
        <pc:docMk/>
      </pc:docMkLst>
      <pc:sldChg chg="addSp modSp">
        <pc:chgData name="bajjuri, uday" userId="S::buday@deloitte.com::025fb0ba-a4ce-4a23-96ae-073505eee83b" providerId="AD" clId="Web-{C99059AB-BA1B-F9F9-5437-30E9E9643A57}" dt="2025-06-06T10:05:12.093" v="179" actId="20577"/>
        <pc:sldMkLst>
          <pc:docMk/>
          <pc:sldMk cId="546545660" sldId="2147480469"/>
        </pc:sldMkLst>
        <pc:spChg chg="add mod">
          <ac:chgData name="bajjuri, uday" userId="S::buday@deloitte.com::025fb0ba-a4ce-4a23-96ae-073505eee83b" providerId="AD" clId="Web-{C99059AB-BA1B-F9F9-5437-30E9E9643A57}" dt="2025-06-06T10:05:12.093" v="179" actId="20577"/>
          <ac:spMkLst>
            <pc:docMk/>
            <pc:sldMk cId="546545660" sldId="2147480469"/>
            <ac:spMk id="10" creationId="{9728AF34-E18A-2767-DAE5-2341FAC64F9E}"/>
          </ac:spMkLst>
        </pc:spChg>
      </pc:sldChg>
      <pc:sldChg chg="addSp delSp modSp add replId">
        <pc:chgData name="bajjuri, uday" userId="S::buday@deloitte.com::025fb0ba-a4ce-4a23-96ae-073505eee83b" providerId="AD" clId="Web-{C99059AB-BA1B-F9F9-5437-30E9E9643A57}" dt="2025-06-06T10:04:55.717" v="177" actId="20577"/>
        <pc:sldMkLst>
          <pc:docMk/>
          <pc:sldMk cId="1879566691" sldId="2147480474"/>
        </pc:sldMkLst>
        <pc:spChg chg="mod">
          <ac:chgData name="bajjuri, uday" userId="S::buday@deloitte.com::025fb0ba-a4ce-4a23-96ae-073505eee83b" providerId="AD" clId="Web-{C99059AB-BA1B-F9F9-5437-30E9E9643A57}" dt="2025-06-06T10:04:12.386" v="166" actId="20577"/>
          <ac:spMkLst>
            <pc:docMk/>
            <pc:sldMk cId="1879566691" sldId="2147480474"/>
            <ac:spMk id="3" creationId="{C4B887EA-151F-D325-ACD1-45068ADF0013}"/>
          </ac:spMkLst>
        </pc:spChg>
        <pc:spChg chg="mod">
          <ac:chgData name="bajjuri, uday" userId="S::buday@deloitte.com::025fb0ba-a4ce-4a23-96ae-073505eee83b" providerId="AD" clId="Web-{C99059AB-BA1B-F9F9-5437-30E9E9643A57}" dt="2025-06-06T07:37:47.989" v="109" actId="20577"/>
          <ac:spMkLst>
            <pc:docMk/>
            <pc:sldMk cId="1879566691" sldId="2147480474"/>
            <ac:spMk id="4" creationId="{1AE62A3C-1005-CDC2-FE63-7952165D5625}"/>
          </ac:spMkLst>
        </pc:spChg>
        <pc:spChg chg="mod">
          <ac:chgData name="bajjuri, uday" userId="S::buday@deloitte.com::025fb0ba-a4ce-4a23-96ae-073505eee83b" providerId="AD" clId="Web-{C99059AB-BA1B-F9F9-5437-30E9E9643A57}" dt="2025-06-06T07:36:31.609" v="94" actId="20577"/>
          <ac:spMkLst>
            <pc:docMk/>
            <pc:sldMk cId="1879566691" sldId="2147480474"/>
            <ac:spMk id="6" creationId="{6B487994-AED5-E8C5-3116-FCB4EA14330D}"/>
          </ac:spMkLst>
        </pc:spChg>
        <pc:spChg chg="mod">
          <ac:chgData name="bajjuri, uday" userId="S::buday@deloitte.com::025fb0ba-a4ce-4a23-96ae-073505eee83b" providerId="AD" clId="Web-{C99059AB-BA1B-F9F9-5437-30E9E9643A57}" dt="2025-06-06T07:29:55.160" v="5" actId="20577"/>
          <ac:spMkLst>
            <pc:docMk/>
            <pc:sldMk cId="1879566691" sldId="2147480474"/>
            <ac:spMk id="8" creationId="{D24F1985-0186-1C88-4AAF-3803F859F18B}"/>
          </ac:spMkLst>
        </pc:spChg>
        <pc:spChg chg="mod">
          <ac:chgData name="bajjuri, uday" userId="S::buday@deloitte.com::025fb0ba-a4ce-4a23-96ae-073505eee83b" providerId="AD" clId="Web-{C99059AB-BA1B-F9F9-5437-30E9E9643A57}" dt="2025-06-06T07:37:17.987" v="98" actId="20577"/>
          <ac:spMkLst>
            <pc:docMk/>
            <pc:sldMk cId="1879566691" sldId="2147480474"/>
            <ac:spMk id="9" creationId="{68B0B354-0657-1EFA-A16B-7A58C9DC954D}"/>
          </ac:spMkLst>
        </pc:spChg>
        <pc:spChg chg="add mod">
          <ac:chgData name="bajjuri, uday" userId="S::buday@deloitte.com::025fb0ba-a4ce-4a23-96ae-073505eee83b" providerId="AD" clId="Web-{C99059AB-BA1B-F9F9-5437-30E9E9643A57}" dt="2025-06-06T10:04:55.717" v="177" actId="20577"/>
          <ac:spMkLst>
            <pc:docMk/>
            <pc:sldMk cId="1879566691" sldId="2147480474"/>
            <ac:spMk id="10" creationId="{B9C3F54D-5597-4918-75D3-096B2BD447BF}"/>
          </ac:spMkLst>
        </pc:spChg>
        <pc:spChg chg="add mod">
          <ac:chgData name="bajjuri, uday" userId="S::buday@deloitte.com::025fb0ba-a4ce-4a23-96ae-073505eee83b" providerId="AD" clId="Web-{C99059AB-BA1B-F9F9-5437-30E9E9643A57}" dt="2025-06-06T07:34:56.602" v="79" actId="20577"/>
          <ac:spMkLst>
            <pc:docMk/>
            <pc:sldMk cId="1879566691" sldId="2147480474"/>
            <ac:spMk id="13" creationId="{A6265DBD-01A9-31DC-C0A0-29A0B07F4C32}"/>
          </ac:spMkLst>
        </pc:spChg>
      </pc:sldChg>
      <pc:sldChg chg="modSp">
        <pc:chgData name="bajjuri, uday" userId="S::buday@deloitte.com::025fb0ba-a4ce-4a23-96ae-073505eee83b" providerId="AD" clId="Web-{C99059AB-BA1B-F9F9-5437-30E9E9643A57}" dt="2025-06-06T10:02:56.397" v="117" actId="20577"/>
        <pc:sldMkLst>
          <pc:docMk/>
          <pc:sldMk cId="4173253307" sldId="2147480475"/>
        </pc:sldMkLst>
        <pc:spChg chg="mod">
          <ac:chgData name="bajjuri, uday" userId="S::buday@deloitte.com::025fb0ba-a4ce-4a23-96ae-073505eee83b" providerId="AD" clId="Web-{C99059AB-BA1B-F9F9-5437-30E9E9643A57}" dt="2025-06-06T10:02:56.397" v="117" actId="20577"/>
          <ac:spMkLst>
            <pc:docMk/>
            <pc:sldMk cId="4173253307" sldId="2147480475"/>
            <ac:spMk id="3" creationId="{38B974B0-184D-1102-B9F5-B30957FEE4F8}"/>
          </ac:spMkLst>
        </pc:spChg>
      </pc:sldChg>
      <pc:sldChg chg="addSp modSp add ord replId">
        <pc:chgData name="bajjuri, uday" userId="S::buday@deloitte.com::025fb0ba-a4ce-4a23-96ae-073505eee83b" providerId="AD" clId="Web-{C99059AB-BA1B-F9F9-5437-30E9E9643A57}" dt="2025-06-06T10:31:33.401" v="587" actId="20577"/>
        <pc:sldMkLst>
          <pc:docMk/>
          <pc:sldMk cId="3911481354" sldId="2147480476"/>
        </pc:sldMkLst>
        <pc:spChg chg="mod">
          <ac:chgData name="bajjuri, uday" userId="S::buday@deloitte.com::025fb0ba-a4ce-4a23-96ae-073505eee83b" providerId="AD" clId="Web-{C99059AB-BA1B-F9F9-5437-30E9E9643A57}" dt="2025-06-06T10:03:39.774" v="149" actId="20577"/>
          <ac:spMkLst>
            <pc:docMk/>
            <pc:sldMk cId="3911481354" sldId="2147480476"/>
            <ac:spMk id="3" creationId="{05D9C922-B51C-AC97-9BAD-C8F30F9BAC7B}"/>
          </ac:spMkLst>
        </pc:spChg>
        <pc:spChg chg="mod">
          <ac:chgData name="bajjuri, uday" userId="S::buday@deloitte.com::025fb0ba-a4ce-4a23-96ae-073505eee83b" providerId="AD" clId="Web-{C99059AB-BA1B-F9F9-5437-30E9E9643A57}" dt="2025-06-06T10:25:09.110" v="363" actId="20577"/>
          <ac:spMkLst>
            <pc:docMk/>
            <pc:sldMk cId="3911481354" sldId="2147480476"/>
            <ac:spMk id="4" creationId="{9BD02E14-F209-C64B-9692-69486F9163BF}"/>
          </ac:spMkLst>
        </pc:spChg>
        <pc:spChg chg="mod">
          <ac:chgData name="bajjuri, uday" userId="S::buday@deloitte.com::025fb0ba-a4ce-4a23-96ae-073505eee83b" providerId="AD" clId="Web-{C99059AB-BA1B-F9F9-5437-30E9E9643A57}" dt="2025-06-06T10:30:02.598" v="545" actId="20577"/>
          <ac:spMkLst>
            <pc:docMk/>
            <pc:sldMk cId="3911481354" sldId="2147480476"/>
            <ac:spMk id="6" creationId="{ECFB4DCF-E3D3-5869-AD3A-45336900FF6A}"/>
          </ac:spMkLst>
        </pc:spChg>
        <pc:spChg chg="add mod">
          <ac:chgData name="bajjuri, uday" userId="S::buday@deloitte.com::025fb0ba-a4ce-4a23-96ae-073505eee83b" providerId="AD" clId="Web-{C99059AB-BA1B-F9F9-5437-30E9E9643A57}" dt="2025-06-06T10:24:20.669" v="335" actId="20577"/>
          <ac:spMkLst>
            <pc:docMk/>
            <pc:sldMk cId="3911481354" sldId="2147480476"/>
            <ac:spMk id="7" creationId="{E122EADD-1ED3-0F8E-AB59-39C811651FAA}"/>
          </ac:spMkLst>
        </pc:spChg>
        <pc:spChg chg="mod">
          <ac:chgData name="bajjuri, uday" userId="S::buday@deloitte.com::025fb0ba-a4ce-4a23-96ae-073505eee83b" providerId="AD" clId="Web-{C99059AB-BA1B-F9F9-5437-30E9E9643A57}" dt="2025-06-06T10:10:46.349" v="320" actId="20577"/>
          <ac:spMkLst>
            <pc:docMk/>
            <pc:sldMk cId="3911481354" sldId="2147480476"/>
            <ac:spMk id="8" creationId="{1C61A9AE-0E2B-9784-1267-A66D9B315E35}"/>
          </ac:spMkLst>
        </pc:spChg>
        <pc:spChg chg="mod">
          <ac:chgData name="bajjuri, uday" userId="S::buday@deloitte.com::025fb0ba-a4ce-4a23-96ae-073505eee83b" providerId="AD" clId="Web-{C99059AB-BA1B-F9F9-5437-30E9E9643A57}" dt="2025-06-06T10:31:33.401" v="587" actId="20577"/>
          <ac:spMkLst>
            <pc:docMk/>
            <pc:sldMk cId="3911481354" sldId="2147480476"/>
            <ac:spMk id="9" creationId="{BF982D66-FF27-9250-1BB2-EE505FA15863}"/>
          </ac:spMkLst>
        </pc:spChg>
        <pc:spChg chg="mod">
          <ac:chgData name="bajjuri, uday" userId="S::buday@deloitte.com::025fb0ba-a4ce-4a23-96ae-073505eee83b" providerId="AD" clId="Web-{C99059AB-BA1B-F9F9-5437-30E9E9643A57}" dt="2025-06-06T10:29:34.643" v="543" actId="20577"/>
          <ac:spMkLst>
            <pc:docMk/>
            <pc:sldMk cId="3911481354" sldId="2147480476"/>
            <ac:spMk id="13" creationId="{FA4C76DD-C2B7-0F04-F119-FB4DD3AD1499}"/>
          </ac:spMkLst>
        </pc:spChg>
      </pc:sldChg>
    </pc:docChg>
  </pc:docChgLst>
  <pc:docChgLst>
    <pc:chgData name="Tanna, Drashty" userId="S::drtanna@deloitte.com::2ebec2a7-57b3-4ec0-a50b-e21cea8033ef" providerId="AD" clId="Web-{12C1FD60-5889-A484-B33C-A7170C753394}"/>
    <pc:docChg chg="addSld modSld modSection">
      <pc:chgData name="Tanna, Drashty" userId="S::drtanna@deloitte.com::2ebec2a7-57b3-4ec0-a50b-e21cea8033ef" providerId="AD" clId="Web-{12C1FD60-5889-A484-B33C-A7170C753394}" dt="2025-06-07T14:14:34.886" v="76" actId="20577"/>
      <pc:docMkLst>
        <pc:docMk/>
      </pc:docMkLst>
      <pc:sldChg chg="modSp add replId">
        <pc:chgData name="Tanna, Drashty" userId="S::drtanna@deloitte.com::2ebec2a7-57b3-4ec0-a50b-e21cea8033ef" providerId="AD" clId="Web-{12C1FD60-5889-A484-B33C-A7170C753394}" dt="2025-06-07T14:14:34.886" v="76" actId="20577"/>
        <pc:sldMkLst>
          <pc:docMk/>
          <pc:sldMk cId="3454177366" sldId="2147480501"/>
        </pc:sldMkLst>
        <pc:spChg chg="mod">
          <ac:chgData name="Tanna, Drashty" userId="S::drtanna@deloitte.com::2ebec2a7-57b3-4ec0-a50b-e21cea8033ef" providerId="AD" clId="Web-{12C1FD60-5889-A484-B33C-A7170C753394}" dt="2025-06-07T14:14:34.886" v="76" actId="20577"/>
          <ac:spMkLst>
            <pc:docMk/>
            <pc:sldMk cId="3454177366" sldId="2147480501"/>
            <ac:spMk id="3" creationId="{65E7AE13-19B7-E575-CD4A-B8BCC8B3CD73}"/>
          </ac:spMkLst>
        </pc:spChg>
        <pc:spChg chg="mod">
          <ac:chgData name="Tanna, Drashty" userId="S::drtanna@deloitte.com::2ebec2a7-57b3-4ec0-a50b-e21cea8033ef" providerId="AD" clId="Web-{12C1FD60-5889-A484-B33C-A7170C753394}" dt="2025-06-07T14:13:45.682" v="68" actId="14100"/>
          <ac:spMkLst>
            <pc:docMk/>
            <pc:sldMk cId="3454177366" sldId="2147480501"/>
            <ac:spMk id="4" creationId="{BA3F475C-68AB-D0B8-E406-CAE784A102E9}"/>
          </ac:spMkLst>
        </pc:spChg>
        <pc:spChg chg="mod">
          <ac:chgData name="Tanna, Drashty" userId="S::drtanna@deloitte.com::2ebec2a7-57b3-4ec0-a50b-e21cea8033ef" providerId="AD" clId="Web-{12C1FD60-5889-A484-B33C-A7170C753394}" dt="2025-06-07T14:12:40.805" v="34" actId="20577"/>
          <ac:spMkLst>
            <pc:docMk/>
            <pc:sldMk cId="3454177366" sldId="2147480501"/>
            <ac:spMk id="5" creationId="{88E0FE8C-AED9-D892-DC0C-FDE4A4E24BFA}"/>
          </ac:spMkLst>
        </pc:spChg>
        <pc:spChg chg="mod">
          <ac:chgData name="Tanna, Drashty" userId="S::drtanna@deloitte.com::2ebec2a7-57b3-4ec0-a50b-e21cea8033ef" providerId="AD" clId="Web-{12C1FD60-5889-A484-B33C-A7170C753394}" dt="2025-06-07T14:14:13.604" v="71" actId="20577"/>
          <ac:spMkLst>
            <pc:docMk/>
            <pc:sldMk cId="3454177366" sldId="2147480501"/>
            <ac:spMk id="6" creationId="{C359F110-4ECA-8A92-8CBA-34E19B215652}"/>
          </ac:spMkLst>
        </pc:spChg>
        <pc:spChg chg="mod">
          <ac:chgData name="Tanna, Drashty" userId="S::drtanna@deloitte.com::2ebec2a7-57b3-4ec0-a50b-e21cea8033ef" providerId="AD" clId="Web-{12C1FD60-5889-A484-B33C-A7170C753394}" dt="2025-06-07T14:13:28.525" v="67" actId="20577"/>
          <ac:spMkLst>
            <pc:docMk/>
            <pc:sldMk cId="3454177366" sldId="2147480501"/>
            <ac:spMk id="7" creationId="{64CB0172-EB3B-2C62-105A-B1DCDB9583C0}"/>
          </ac:spMkLst>
        </pc:spChg>
        <pc:spChg chg="mod">
          <ac:chgData name="Tanna, Drashty" userId="S::drtanna@deloitte.com::2ebec2a7-57b3-4ec0-a50b-e21cea8033ef" providerId="AD" clId="Web-{12C1FD60-5889-A484-B33C-A7170C753394}" dt="2025-06-07T14:09:51.675" v="7" actId="20577"/>
          <ac:spMkLst>
            <pc:docMk/>
            <pc:sldMk cId="3454177366" sldId="2147480501"/>
            <ac:spMk id="8" creationId="{409809EC-20A3-EDF2-F5B3-DE196151529E}"/>
          </ac:spMkLst>
        </pc:spChg>
      </pc:sldChg>
    </pc:docChg>
  </pc:docChgLst>
  <pc:docChgLst>
    <pc:chgData name="Galam, Hari Krishna Yadav" userId="d1674dd9-31a8-47c3-be1a-32ce168e28e5" providerId="ADAL" clId="{EAA8E3F8-BE99-44B4-ABE1-273F67CF1C43}"/>
    <pc:docChg chg="undo custSel delSld modSld modSection">
      <pc:chgData name="Galam, Hari Krishna Yadav" userId="d1674dd9-31a8-47c3-be1a-32ce168e28e5" providerId="ADAL" clId="{EAA8E3F8-BE99-44B4-ABE1-273F67CF1C43}" dt="2025-06-13T12:17:33.463" v="333" actId="2696"/>
      <pc:docMkLst>
        <pc:docMk/>
      </pc:docMkLst>
      <pc:sldChg chg="addSp delSp modSp del mod">
        <pc:chgData name="Galam, Hari Krishna Yadav" userId="d1674dd9-31a8-47c3-be1a-32ce168e28e5" providerId="ADAL" clId="{EAA8E3F8-BE99-44B4-ABE1-273F67CF1C43}" dt="2025-06-13T10:08:31.449" v="247" actId="2696"/>
        <pc:sldMkLst>
          <pc:docMk/>
          <pc:sldMk cId="17041418" sldId="2147480480"/>
        </pc:sldMkLst>
      </pc:sldChg>
      <pc:sldChg chg="addSp delSp modSp mod">
        <pc:chgData name="Galam, Hari Krishna Yadav" userId="d1674dd9-31a8-47c3-be1a-32ce168e28e5" providerId="ADAL" clId="{EAA8E3F8-BE99-44B4-ABE1-273F67CF1C43}" dt="2025-06-10T08:43:21.832" v="28"/>
        <pc:sldMkLst>
          <pc:docMk/>
          <pc:sldMk cId="292172058" sldId="2147480481"/>
        </pc:sldMkLst>
        <pc:spChg chg="add mod">
          <ac:chgData name="Galam, Hari Krishna Yadav" userId="d1674dd9-31a8-47c3-be1a-32ce168e28e5" providerId="ADAL" clId="{EAA8E3F8-BE99-44B4-ABE1-273F67CF1C43}" dt="2025-06-10T08:43:21.832" v="28"/>
          <ac:spMkLst>
            <pc:docMk/>
            <pc:sldMk cId="292172058" sldId="2147480481"/>
            <ac:spMk id="15" creationId="{568140E4-1179-5647-FD7E-80C1614706C0}"/>
          </ac:spMkLst>
        </pc:spChg>
      </pc:sldChg>
      <pc:sldChg chg="addSp delSp modSp mod">
        <pc:chgData name="Galam, Hari Krishna Yadav" userId="d1674dd9-31a8-47c3-be1a-32ce168e28e5" providerId="ADAL" clId="{EAA8E3F8-BE99-44B4-ABE1-273F67CF1C43}" dt="2025-06-10T08:43:29.081" v="30"/>
        <pc:sldMkLst>
          <pc:docMk/>
          <pc:sldMk cId="1846665679" sldId="2147480482"/>
        </pc:sldMkLst>
      </pc:sldChg>
      <pc:sldChg chg="addSp delSp modSp mod">
        <pc:chgData name="Galam, Hari Krishna Yadav" userId="d1674dd9-31a8-47c3-be1a-32ce168e28e5" providerId="ADAL" clId="{EAA8E3F8-BE99-44B4-ABE1-273F67CF1C43}" dt="2025-06-10T08:43:33.617" v="32"/>
        <pc:sldMkLst>
          <pc:docMk/>
          <pc:sldMk cId="909118351" sldId="2147480483"/>
        </pc:sldMkLst>
      </pc:sldChg>
      <pc:sldChg chg="addSp delSp modSp mod">
        <pc:chgData name="Galam, Hari Krishna Yadav" userId="d1674dd9-31a8-47c3-be1a-32ce168e28e5" providerId="ADAL" clId="{EAA8E3F8-BE99-44B4-ABE1-273F67CF1C43}" dt="2025-06-10T08:43:38.377" v="34"/>
        <pc:sldMkLst>
          <pc:docMk/>
          <pc:sldMk cId="639997029" sldId="2147480484"/>
        </pc:sldMkLst>
      </pc:sldChg>
      <pc:sldChg chg="addSp delSp modSp mod">
        <pc:chgData name="Galam, Hari Krishna Yadav" userId="d1674dd9-31a8-47c3-be1a-32ce168e28e5" providerId="ADAL" clId="{EAA8E3F8-BE99-44B4-ABE1-273F67CF1C43}" dt="2025-06-13T07:22:31.711" v="246" actId="108"/>
        <pc:sldMkLst>
          <pc:docMk/>
          <pc:sldMk cId="1884353237" sldId="2147480485"/>
        </pc:sldMkLst>
        <pc:spChg chg="mod">
          <ac:chgData name="Galam, Hari Krishna Yadav" userId="d1674dd9-31a8-47c3-be1a-32ce168e28e5" providerId="ADAL" clId="{EAA8E3F8-BE99-44B4-ABE1-273F67CF1C43}" dt="2025-06-13T07:12:20.423" v="74" actId="6549"/>
          <ac:spMkLst>
            <pc:docMk/>
            <pc:sldMk cId="1884353237" sldId="2147480485"/>
            <ac:spMk id="3" creationId="{8A56E455-E02B-96F5-C2AA-4E4E780CBDBD}"/>
          </ac:spMkLst>
        </pc:spChg>
        <pc:spChg chg="mod">
          <ac:chgData name="Galam, Hari Krishna Yadav" userId="d1674dd9-31a8-47c3-be1a-32ce168e28e5" providerId="ADAL" clId="{EAA8E3F8-BE99-44B4-ABE1-273F67CF1C43}" dt="2025-06-13T07:19:17.406" v="213" actId="6549"/>
          <ac:spMkLst>
            <pc:docMk/>
            <pc:sldMk cId="1884353237" sldId="2147480485"/>
            <ac:spMk id="4" creationId="{D00745B2-75A1-0AC8-4C39-5618D6FF5C1B}"/>
          </ac:spMkLst>
        </pc:spChg>
        <pc:spChg chg="mod">
          <ac:chgData name="Galam, Hari Krishna Yadav" userId="d1674dd9-31a8-47c3-be1a-32ce168e28e5" providerId="ADAL" clId="{EAA8E3F8-BE99-44B4-ABE1-273F67CF1C43}" dt="2025-06-13T07:13:38.118" v="91" actId="12"/>
          <ac:spMkLst>
            <pc:docMk/>
            <pc:sldMk cId="1884353237" sldId="2147480485"/>
            <ac:spMk id="5" creationId="{14A88BCF-9352-A540-345D-D4C26E14DEBF}"/>
          </ac:spMkLst>
        </pc:spChg>
        <pc:spChg chg="mod">
          <ac:chgData name="Galam, Hari Krishna Yadav" userId="d1674dd9-31a8-47c3-be1a-32ce168e28e5" providerId="ADAL" clId="{EAA8E3F8-BE99-44B4-ABE1-273F67CF1C43}" dt="2025-06-13T07:14:50.063" v="103" actId="2711"/>
          <ac:spMkLst>
            <pc:docMk/>
            <pc:sldMk cId="1884353237" sldId="2147480485"/>
            <ac:spMk id="6" creationId="{C7AB02ED-6B99-D130-88DA-D3AE5E8812C4}"/>
          </ac:spMkLst>
        </pc:spChg>
        <pc:spChg chg="mod">
          <ac:chgData name="Galam, Hari Krishna Yadav" userId="d1674dd9-31a8-47c3-be1a-32ce168e28e5" providerId="ADAL" clId="{EAA8E3F8-BE99-44B4-ABE1-273F67CF1C43}" dt="2025-06-13T07:14:27.334" v="97" actId="12"/>
          <ac:spMkLst>
            <pc:docMk/>
            <pc:sldMk cId="1884353237" sldId="2147480485"/>
            <ac:spMk id="7" creationId="{6A0580D2-C128-7299-A175-11A5B3D15875}"/>
          </ac:spMkLst>
        </pc:spChg>
        <pc:spChg chg="mod">
          <ac:chgData name="Galam, Hari Krishna Yadav" userId="d1674dd9-31a8-47c3-be1a-32ce168e28e5" providerId="ADAL" clId="{EAA8E3F8-BE99-44B4-ABE1-273F67CF1C43}" dt="2025-06-13T07:22:31.711" v="246" actId="108"/>
          <ac:spMkLst>
            <pc:docMk/>
            <pc:sldMk cId="1884353237" sldId="2147480485"/>
            <ac:spMk id="8" creationId="{BA657787-4731-0A0C-9EFF-BF32F828B6E8}"/>
          </ac:spMkLst>
        </pc:spChg>
        <pc:spChg chg="add mod">
          <ac:chgData name="Galam, Hari Krishna Yadav" userId="d1674dd9-31a8-47c3-be1a-32ce168e28e5" providerId="ADAL" clId="{EAA8E3F8-BE99-44B4-ABE1-273F67CF1C43}" dt="2025-06-13T07:22:22.452" v="243" actId="21"/>
          <ac:spMkLst>
            <pc:docMk/>
            <pc:sldMk cId="1884353237" sldId="2147480485"/>
            <ac:spMk id="17" creationId="{0CE42FF8-08B2-7794-5547-474D27089F4D}"/>
          </ac:spMkLst>
        </pc:spChg>
      </pc:sldChg>
      <pc:sldChg chg="addSp delSp modSp del mod">
        <pc:chgData name="Galam, Hari Krishna Yadav" userId="d1674dd9-31a8-47c3-be1a-32ce168e28e5" providerId="ADAL" clId="{EAA8E3F8-BE99-44B4-ABE1-273F67CF1C43}" dt="2025-06-13T12:17:33.463" v="333" actId="2696"/>
        <pc:sldMkLst>
          <pc:docMk/>
          <pc:sldMk cId="2417848035" sldId="2147480486"/>
        </pc:sldMkLst>
      </pc:sldChg>
    </pc:docChg>
  </pc:docChgLst>
  <pc:docChgLst>
    <pc:chgData name="Kanagasundaram, Senthil" userId="ad0514d2-f5b9-46b6-980a-a8b5153a9916" providerId="ADAL" clId="{9F23445F-6E24-4DA6-9C2D-849DEA861015}"/>
    <pc:docChg chg="undo redo custSel addSld delSld modSld modSection">
      <pc:chgData name="Kanagasundaram, Senthil" userId="ad0514d2-f5b9-46b6-980a-a8b5153a9916" providerId="ADAL" clId="{9F23445F-6E24-4DA6-9C2D-849DEA861015}" dt="2025-05-15T03:03:23.986" v="501"/>
      <pc:docMkLst>
        <pc:docMk/>
      </pc:docMkLst>
      <pc:sldChg chg="addSp modSp add mod">
        <pc:chgData name="Kanagasundaram, Senthil" userId="ad0514d2-f5b9-46b6-980a-a8b5153a9916" providerId="ADAL" clId="{9F23445F-6E24-4DA6-9C2D-849DEA861015}" dt="2025-05-15T01:40:53.328" v="286"/>
        <pc:sldMkLst>
          <pc:docMk/>
          <pc:sldMk cId="4226244808" sldId="2147480464"/>
        </pc:sldMkLst>
        <pc:spChg chg="mod">
          <ac:chgData name="Kanagasundaram, Senthil" userId="ad0514d2-f5b9-46b6-980a-a8b5153a9916" providerId="ADAL" clId="{9F23445F-6E24-4DA6-9C2D-849DEA861015}" dt="2025-05-15T00:53:04.110" v="12" actId="20577"/>
          <ac:spMkLst>
            <pc:docMk/>
            <pc:sldMk cId="4226244808" sldId="2147480464"/>
            <ac:spMk id="3" creationId="{C34EE1C7-7022-E52F-3479-93FEA4F20104}"/>
          </ac:spMkLst>
        </pc:spChg>
        <pc:spChg chg="mod">
          <ac:chgData name="Kanagasundaram, Senthil" userId="ad0514d2-f5b9-46b6-980a-a8b5153a9916" providerId="ADAL" clId="{9F23445F-6E24-4DA6-9C2D-849DEA861015}" dt="2025-05-15T01:40:53.328" v="286"/>
          <ac:spMkLst>
            <pc:docMk/>
            <pc:sldMk cId="4226244808" sldId="2147480464"/>
            <ac:spMk id="4" creationId="{C578ACA3-AADC-8C02-A715-D5F3074BF440}"/>
          </ac:spMkLst>
        </pc:spChg>
        <pc:spChg chg="mod">
          <ac:chgData name="Kanagasundaram, Senthil" userId="ad0514d2-f5b9-46b6-980a-a8b5153a9916" providerId="ADAL" clId="{9F23445F-6E24-4DA6-9C2D-849DEA861015}" dt="2025-05-15T00:59:54.901" v="80" actId="14100"/>
          <ac:spMkLst>
            <pc:docMk/>
            <pc:sldMk cId="4226244808" sldId="2147480464"/>
            <ac:spMk id="5" creationId="{0F52009C-203E-F9D1-5093-44B75552C131}"/>
          </ac:spMkLst>
        </pc:spChg>
        <pc:spChg chg="mod">
          <ac:chgData name="Kanagasundaram, Senthil" userId="ad0514d2-f5b9-46b6-980a-a8b5153a9916" providerId="ADAL" clId="{9F23445F-6E24-4DA6-9C2D-849DEA861015}" dt="2025-05-15T01:09:52.607" v="122" actId="20577"/>
          <ac:spMkLst>
            <pc:docMk/>
            <pc:sldMk cId="4226244808" sldId="2147480464"/>
            <ac:spMk id="6" creationId="{5BB1876E-8859-3EDE-E884-7999A7F95D48}"/>
          </ac:spMkLst>
        </pc:spChg>
        <pc:spChg chg="mod">
          <ac:chgData name="Kanagasundaram, Senthil" userId="ad0514d2-f5b9-46b6-980a-a8b5153a9916" providerId="ADAL" clId="{9F23445F-6E24-4DA6-9C2D-849DEA861015}" dt="2025-05-15T00:53:31.022" v="13"/>
          <ac:spMkLst>
            <pc:docMk/>
            <pc:sldMk cId="4226244808" sldId="2147480464"/>
            <ac:spMk id="8" creationId="{D028919E-6403-0550-2579-156D07CFA80D}"/>
          </ac:spMkLst>
        </pc:spChg>
        <pc:spChg chg="mod">
          <ac:chgData name="Kanagasundaram, Senthil" userId="ad0514d2-f5b9-46b6-980a-a8b5153a9916" providerId="ADAL" clId="{9F23445F-6E24-4DA6-9C2D-849DEA861015}" dt="2025-05-15T01:16:42.879" v="185" actId="14100"/>
          <ac:spMkLst>
            <pc:docMk/>
            <pc:sldMk cId="4226244808" sldId="2147480464"/>
            <ac:spMk id="9" creationId="{1AC189B4-F73A-5839-D077-63290EE73F94}"/>
          </ac:spMkLst>
        </pc:spChg>
      </pc:sldChg>
      <pc:sldChg chg="addSp modSp add mod">
        <pc:chgData name="Kanagasundaram, Senthil" userId="ad0514d2-f5b9-46b6-980a-a8b5153a9916" providerId="ADAL" clId="{9F23445F-6E24-4DA6-9C2D-849DEA861015}" dt="2025-05-15T01:38:44.362" v="259" actId="20577"/>
        <pc:sldMkLst>
          <pc:docMk/>
          <pc:sldMk cId="1945129991" sldId="2147480465"/>
        </pc:sldMkLst>
        <pc:spChg chg="mod">
          <ac:chgData name="Kanagasundaram, Senthil" userId="ad0514d2-f5b9-46b6-980a-a8b5153a9916" providerId="ADAL" clId="{9F23445F-6E24-4DA6-9C2D-849DEA861015}" dt="2025-05-15T01:24:37.480" v="189"/>
          <ac:spMkLst>
            <pc:docMk/>
            <pc:sldMk cId="1945129991" sldId="2147480465"/>
            <ac:spMk id="3" creationId="{C34EE1C7-7022-E52F-3479-93FEA4F20104}"/>
          </ac:spMkLst>
        </pc:spChg>
        <pc:spChg chg="mod">
          <ac:chgData name="Kanagasundaram, Senthil" userId="ad0514d2-f5b9-46b6-980a-a8b5153a9916" providerId="ADAL" clId="{9F23445F-6E24-4DA6-9C2D-849DEA861015}" dt="2025-05-15T01:31:27.109" v="207"/>
          <ac:spMkLst>
            <pc:docMk/>
            <pc:sldMk cId="1945129991" sldId="2147480465"/>
            <ac:spMk id="4" creationId="{C578ACA3-AADC-8C02-A715-D5F3074BF440}"/>
          </ac:spMkLst>
        </pc:spChg>
        <pc:spChg chg="mod">
          <ac:chgData name="Kanagasundaram, Senthil" userId="ad0514d2-f5b9-46b6-980a-a8b5153a9916" providerId="ADAL" clId="{9F23445F-6E24-4DA6-9C2D-849DEA861015}" dt="2025-05-15T01:29:16.353" v="205" actId="6549"/>
          <ac:spMkLst>
            <pc:docMk/>
            <pc:sldMk cId="1945129991" sldId="2147480465"/>
            <ac:spMk id="5" creationId="{0F52009C-203E-F9D1-5093-44B75552C131}"/>
          </ac:spMkLst>
        </pc:spChg>
        <pc:spChg chg="mod">
          <ac:chgData name="Kanagasundaram, Senthil" userId="ad0514d2-f5b9-46b6-980a-a8b5153a9916" providerId="ADAL" clId="{9F23445F-6E24-4DA6-9C2D-849DEA861015}" dt="2025-05-15T01:30:09.291" v="206"/>
          <ac:spMkLst>
            <pc:docMk/>
            <pc:sldMk cId="1945129991" sldId="2147480465"/>
            <ac:spMk id="6" creationId="{5BB1876E-8859-3EDE-E884-7999A7F95D48}"/>
          </ac:spMkLst>
        </pc:spChg>
        <pc:spChg chg="mod">
          <ac:chgData name="Kanagasundaram, Senthil" userId="ad0514d2-f5b9-46b6-980a-a8b5153a9916" providerId="ADAL" clId="{9F23445F-6E24-4DA6-9C2D-849DEA861015}" dt="2025-05-15T01:25:00.797" v="190"/>
          <ac:spMkLst>
            <pc:docMk/>
            <pc:sldMk cId="1945129991" sldId="2147480465"/>
            <ac:spMk id="8" creationId="{D028919E-6403-0550-2579-156D07CFA80D}"/>
          </ac:spMkLst>
        </pc:spChg>
        <pc:spChg chg="mod">
          <ac:chgData name="Kanagasundaram, Senthil" userId="ad0514d2-f5b9-46b6-980a-a8b5153a9916" providerId="ADAL" clId="{9F23445F-6E24-4DA6-9C2D-849DEA861015}" dt="2025-05-15T01:38:44.362" v="259" actId="20577"/>
          <ac:spMkLst>
            <pc:docMk/>
            <pc:sldMk cId="1945129991" sldId="2147480465"/>
            <ac:spMk id="9" creationId="{1AC189B4-F73A-5839-D077-63290EE73F94}"/>
          </ac:spMkLst>
        </pc:spChg>
      </pc:sldChg>
      <pc:sldChg chg="new del">
        <pc:chgData name="Kanagasundaram, Senthil" userId="ad0514d2-f5b9-46b6-980a-a8b5153a9916" providerId="ADAL" clId="{9F23445F-6E24-4DA6-9C2D-849DEA861015}" dt="2025-05-15T01:48:42.985" v="288" actId="47"/>
        <pc:sldMkLst>
          <pc:docMk/>
          <pc:sldMk cId="290903435" sldId="2147480466"/>
        </pc:sldMkLst>
      </pc:sldChg>
      <pc:sldChg chg="addSp modSp add mod">
        <pc:chgData name="Kanagasundaram, Senthil" userId="ad0514d2-f5b9-46b6-980a-a8b5153a9916" providerId="ADAL" clId="{9F23445F-6E24-4DA6-9C2D-849DEA861015}" dt="2025-05-15T02:58:20.707" v="408" actId="1076"/>
        <pc:sldMkLst>
          <pc:docMk/>
          <pc:sldMk cId="3674716254" sldId="2147480466"/>
        </pc:sldMkLst>
        <pc:spChg chg="mod">
          <ac:chgData name="Kanagasundaram, Senthil" userId="ad0514d2-f5b9-46b6-980a-a8b5153a9916" providerId="ADAL" clId="{9F23445F-6E24-4DA6-9C2D-849DEA861015}" dt="2025-05-15T02:42:00.888" v="363" actId="20577"/>
          <ac:spMkLst>
            <pc:docMk/>
            <pc:sldMk cId="3674716254" sldId="2147480466"/>
            <ac:spMk id="3" creationId="{C34EE1C7-7022-E52F-3479-93FEA4F20104}"/>
          </ac:spMkLst>
        </pc:spChg>
        <pc:spChg chg="mod">
          <ac:chgData name="Kanagasundaram, Senthil" userId="ad0514d2-f5b9-46b6-980a-a8b5153a9916" providerId="ADAL" clId="{9F23445F-6E24-4DA6-9C2D-849DEA861015}" dt="2025-05-15T01:57:18.919" v="304" actId="6549"/>
          <ac:spMkLst>
            <pc:docMk/>
            <pc:sldMk cId="3674716254" sldId="2147480466"/>
            <ac:spMk id="4" creationId="{C578ACA3-AADC-8C02-A715-D5F3074BF440}"/>
          </ac:spMkLst>
        </pc:spChg>
        <pc:spChg chg="mod">
          <ac:chgData name="Kanagasundaram, Senthil" userId="ad0514d2-f5b9-46b6-980a-a8b5153a9916" providerId="ADAL" clId="{9F23445F-6E24-4DA6-9C2D-849DEA861015}" dt="2025-05-15T01:54:41.943" v="300"/>
          <ac:spMkLst>
            <pc:docMk/>
            <pc:sldMk cId="3674716254" sldId="2147480466"/>
            <ac:spMk id="5" creationId="{0F52009C-203E-F9D1-5093-44B75552C131}"/>
          </ac:spMkLst>
        </pc:spChg>
        <pc:spChg chg="mod">
          <ac:chgData name="Kanagasundaram, Senthil" userId="ad0514d2-f5b9-46b6-980a-a8b5153a9916" providerId="ADAL" clId="{9F23445F-6E24-4DA6-9C2D-849DEA861015}" dt="2025-05-15T01:56:15.718" v="302" actId="1076"/>
          <ac:spMkLst>
            <pc:docMk/>
            <pc:sldMk cId="3674716254" sldId="2147480466"/>
            <ac:spMk id="6" creationId="{5BB1876E-8859-3EDE-E884-7999A7F95D48}"/>
          </ac:spMkLst>
        </pc:spChg>
        <pc:spChg chg="mod">
          <ac:chgData name="Kanagasundaram, Senthil" userId="ad0514d2-f5b9-46b6-980a-a8b5153a9916" providerId="ADAL" clId="{9F23445F-6E24-4DA6-9C2D-849DEA861015}" dt="2025-05-15T01:54:12.845" v="297"/>
          <ac:spMkLst>
            <pc:docMk/>
            <pc:sldMk cId="3674716254" sldId="2147480466"/>
            <ac:spMk id="8" creationId="{D028919E-6403-0550-2579-156D07CFA80D}"/>
          </ac:spMkLst>
        </pc:spChg>
        <pc:spChg chg="mod">
          <ac:chgData name="Kanagasundaram, Senthil" userId="ad0514d2-f5b9-46b6-980a-a8b5153a9916" providerId="ADAL" clId="{9F23445F-6E24-4DA6-9C2D-849DEA861015}" dt="2025-05-15T02:58:20.707" v="408" actId="1076"/>
          <ac:spMkLst>
            <pc:docMk/>
            <pc:sldMk cId="3674716254" sldId="2147480466"/>
            <ac:spMk id="9" creationId="{1AC189B4-F73A-5839-D077-63290EE73F94}"/>
          </ac:spMkLst>
        </pc:spChg>
      </pc:sldChg>
      <pc:sldChg chg="addSp modSp add mod">
        <pc:chgData name="Kanagasundaram, Senthil" userId="ad0514d2-f5b9-46b6-980a-a8b5153a9916" providerId="ADAL" clId="{9F23445F-6E24-4DA6-9C2D-849DEA861015}" dt="2025-05-15T02:59:46.910" v="438" actId="1035"/>
        <pc:sldMkLst>
          <pc:docMk/>
          <pc:sldMk cId="603857953" sldId="2147480467"/>
        </pc:sldMkLst>
        <pc:spChg chg="mod">
          <ac:chgData name="Kanagasundaram, Senthil" userId="ad0514d2-f5b9-46b6-980a-a8b5153a9916" providerId="ADAL" clId="{9F23445F-6E24-4DA6-9C2D-849DEA861015}" dt="2025-05-15T02:42:05.303" v="365" actId="20577"/>
          <ac:spMkLst>
            <pc:docMk/>
            <pc:sldMk cId="603857953" sldId="2147480467"/>
            <ac:spMk id="3" creationId="{C34EE1C7-7022-E52F-3479-93FEA4F20104}"/>
          </ac:spMkLst>
        </pc:spChg>
        <pc:spChg chg="mod">
          <ac:chgData name="Kanagasundaram, Senthil" userId="ad0514d2-f5b9-46b6-980a-a8b5153a9916" providerId="ADAL" clId="{9F23445F-6E24-4DA6-9C2D-849DEA861015}" dt="2025-05-15T02:59:46.910" v="438" actId="1035"/>
          <ac:spMkLst>
            <pc:docMk/>
            <pc:sldMk cId="603857953" sldId="2147480467"/>
            <ac:spMk id="4" creationId="{C578ACA3-AADC-8C02-A715-D5F3074BF440}"/>
          </ac:spMkLst>
        </pc:spChg>
        <pc:spChg chg="mod">
          <ac:chgData name="Kanagasundaram, Senthil" userId="ad0514d2-f5b9-46b6-980a-a8b5153a9916" providerId="ADAL" clId="{9F23445F-6E24-4DA6-9C2D-849DEA861015}" dt="2025-05-15T02:59:46.910" v="438" actId="1035"/>
          <ac:spMkLst>
            <pc:docMk/>
            <pc:sldMk cId="603857953" sldId="2147480467"/>
            <ac:spMk id="5" creationId="{0F52009C-203E-F9D1-5093-44B75552C131}"/>
          </ac:spMkLst>
        </pc:spChg>
        <pc:spChg chg="mod">
          <ac:chgData name="Kanagasundaram, Senthil" userId="ad0514d2-f5b9-46b6-980a-a8b5153a9916" providerId="ADAL" clId="{9F23445F-6E24-4DA6-9C2D-849DEA861015}" dt="2025-05-15T02:38:41.302" v="352" actId="1076"/>
          <ac:spMkLst>
            <pc:docMk/>
            <pc:sldMk cId="603857953" sldId="2147480467"/>
            <ac:spMk id="6" creationId="{5BB1876E-8859-3EDE-E884-7999A7F95D48}"/>
          </ac:spMkLst>
        </pc:spChg>
        <pc:spChg chg="mod">
          <ac:chgData name="Kanagasundaram, Senthil" userId="ad0514d2-f5b9-46b6-980a-a8b5153a9916" providerId="ADAL" clId="{9F23445F-6E24-4DA6-9C2D-849DEA861015}" dt="2025-05-15T02:32:37.913" v="323" actId="6549"/>
          <ac:spMkLst>
            <pc:docMk/>
            <pc:sldMk cId="603857953" sldId="2147480467"/>
            <ac:spMk id="8" creationId="{D028919E-6403-0550-2579-156D07CFA80D}"/>
          </ac:spMkLst>
        </pc:spChg>
        <pc:spChg chg="mod">
          <ac:chgData name="Kanagasundaram, Senthil" userId="ad0514d2-f5b9-46b6-980a-a8b5153a9916" providerId="ADAL" clId="{9F23445F-6E24-4DA6-9C2D-849DEA861015}" dt="2025-05-15T02:40:46.276" v="361" actId="1076"/>
          <ac:spMkLst>
            <pc:docMk/>
            <pc:sldMk cId="603857953" sldId="2147480467"/>
            <ac:spMk id="9" creationId="{1AC189B4-F73A-5839-D077-63290EE73F94}"/>
          </ac:spMkLst>
        </pc:spChg>
      </pc:sldChg>
      <pc:sldChg chg="addSp modSp add mod">
        <pc:chgData name="Kanagasundaram, Senthil" userId="ad0514d2-f5b9-46b6-980a-a8b5153a9916" providerId="ADAL" clId="{9F23445F-6E24-4DA6-9C2D-849DEA861015}" dt="2025-05-15T03:03:23.986" v="501"/>
        <pc:sldMkLst>
          <pc:docMk/>
          <pc:sldMk cId="2610379268" sldId="2147480468"/>
        </pc:sldMkLst>
        <pc:spChg chg="mod">
          <ac:chgData name="Kanagasundaram, Senthil" userId="ad0514d2-f5b9-46b6-980a-a8b5153a9916" providerId="ADAL" clId="{9F23445F-6E24-4DA6-9C2D-849DEA861015}" dt="2025-05-15T02:51:44.062" v="369"/>
          <ac:spMkLst>
            <pc:docMk/>
            <pc:sldMk cId="2610379268" sldId="2147480468"/>
            <ac:spMk id="3" creationId="{C34EE1C7-7022-E52F-3479-93FEA4F20104}"/>
          </ac:spMkLst>
        </pc:spChg>
        <pc:spChg chg="mod">
          <ac:chgData name="Kanagasundaram, Senthil" userId="ad0514d2-f5b9-46b6-980a-a8b5153a9916" providerId="ADAL" clId="{9F23445F-6E24-4DA6-9C2D-849DEA861015}" dt="2025-05-15T03:02:43.860" v="498" actId="20577"/>
          <ac:spMkLst>
            <pc:docMk/>
            <pc:sldMk cId="2610379268" sldId="2147480468"/>
            <ac:spMk id="4" creationId="{C578ACA3-AADC-8C02-A715-D5F3074BF440}"/>
          </ac:spMkLst>
        </pc:spChg>
        <pc:spChg chg="mod">
          <ac:chgData name="Kanagasundaram, Senthil" userId="ad0514d2-f5b9-46b6-980a-a8b5153a9916" providerId="ADAL" clId="{9F23445F-6E24-4DA6-9C2D-849DEA861015}" dt="2025-05-15T02:57:59.293" v="407" actId="14100"/>
          <ac:spMkLst>
            <pc:docMk/>
            <pc:sldMk cId="2610379268" sldId="2147480468"/>
            <ac:spMk id="5" creationId="{0F52009C-203E-F9D1-5093-44B75552C131}"/>
          </ac:spMkLst>
        </pc:spChg>
        <pc:spChg chg="mod">
          <ac:chgData name="Kanagasundaram, Senthil" userId="ad0514d2-f5b9-46b6-980a-a8b5153a9916" providerId="ADAL" clId="{9F23445F-6E24-4DA6-9C2D-849DEA861015}" dt="2025-05-15T03:02:04.106" v="481" actId="1036"/>
          <ac:spMkLst>
            <pc:docMk/>
            <pc:sldMk cId="2610379268" sldId="2147480468"/>
            <ac:spMk id="6" creationId="{5BB1876E-8859-3EDE-E884-7999A7F95D48}"/>
          </ac:spMkLst>
        </pc:spChg>
        <pc:spChg chg="mod">
          <ac:chgData name="Kanagasundaram, Senthil" userId="ad0514d2-f5b9-46b6-980a-a8b5153a9916" providerId="ADAL" clId="{9F23445F-6E24-4DA6-9C2D-849DEA861015}" dt="2025-05-15T02:52:19.163" v="370"/>
          <ac:spMkLst>
            <pc:docMk/>
            <pc:sldMk cId="2610379268" sldId="2147480468"/>
            <ac:spMk id="8" creationId="{D028919E-6403-0550-2579-156D07CFA80D}"/>
          </ac:spMkLst>
        </pc:spChg>
        <pc:spChg chg="mod">
          <ac:chgData name="Kanagasundaram, Senthil" userId="ad0514d2-f5b9-46b6-980a-a8b5153a9916" providerId="ADAL" clId="{9F23445F-6E24-4DA6-9C2D-849DEA861015}" dt="2025-05-15T03:03:23.986" v="501"/>
          <ac:spMkLst>
            <pc:docMk/>
            <pc:sldMk cId="2610379268" sldId="2147480468"/>
            <ac:spMk id="9" creationId="{1AC189B4-F73A-5839-D077-63290EE73F94}"/>
          </ac:spMkLst>
        </pc:spChg>
      </pc:sldChg>
    </pc:docChg>
  </pc:docChgLst>
  <pc:docChgLst>
    <pc:chgData name="Viswanath, Manda" userId="S::manviswanath@deloitte.com::bc56b8a0-69ce-47f3-b12c-8aa0b60fe648" providerId="AD" clId="Web-{B1D02414-9A0E-17D1-A70C-9B3B6522E33D}"/>
    <pc:docChg chg="modSld">
      <pc:chgData name="Viswanath, Manda" userId="S::manviswanath@deloitte.com::bc56b8a0-69ce-47f3-b12c-8aa0b60fe648" providerId="AD" clId="Web-{B1D02414-9A0E-17D1-A70C-9B3B6522E33D}" dt="2025-05-07T07:55:12.182" v="112" actId="20577"/>
      <pc:docMkLst>
        <pc:docMk/>
      </pc:docMkLst>
      <pc:sldChg chg="modSp modCm">
        <pc:chgData name="Viswanath, Manda" userId="S::manviswanath@deloitte.com::bc56b8a0-69ce-47f3-b12c-8aa0b60fe648" providerId="AD" clId="Web-{B1D02414-9A0E-17D1-A70C-9B3B6522E33D}" dt="2025-05-07T07:55:12.182" v="112" actId="20577"/>
        <pc:sldMkLst>
          <pc:docMk/>
          <pc:sldMk cId="1346666615" sldId="2147480444"/>
        </pc:sldMkLst>
        <pc:spChg chg="mod">
          <ac:chgData name="Viswanath, Manda" userId="S::manviswanath@deloitte.com::bc56b8a0-69ce-47f3-b12c-8aa0b60fe648" providerId="AD" clId="Web-{B1D02414-9A0E-17D1-A70C-9B3B6522E33D}" dt="2025-05-07T07:40:43.156" v="94"/>
          <ac:spMkLst>
            <pc:docMk/>
            <pc:sldMk cId="1346666615" sldId="2147480444"/>
            <ac:spMk id="5" creationId="{03DBFA8B-96C1-4BF4-FB59-985D561993D0}"/>
          </ac:spMkLst>
        </pc:spChg>
        <pc:spChg chg="mod">
          <ac:chgData name="Viswanath, Manda" userId="S::manviswanath@deloitte.com::bc56b8a0-69ce-47f3-b12c-8aa0b60fe648" providerId="AD" clId="Web-{B1D02414-9A0E-17D1-A70C-9B3B6522E33D}" dt="2025-05-07T07:45:09.704" v="101" actId="1076"/>
          <ac:spMkLst>
            <pc:docMk/>
            <pc:sldMk cId="1346666615" sldId="2147480444"/>
            <ac:spMk id="7" creationId="{B7F9A1B9-26CF-3174-9B9B-FEFF867C2536}"/>
          </ac:spMkLst>
        </pc:spChg>
        <pc:spChg chg="mod">
          <ac:chgData name="Viswanath, Manda" userId="S::manviswanath@deloitte.com::bc56b8a0-69ce-47f3-b12c-8aa0b60fe648" providerId="AD" clId="Web-{B1D02414-9A0E-17D1-A70C-9B3B6522E33D}" dt="2025-05-07T07:55:12.182" v="112" actId="20577"/>
          <ac:spMkLst>
            <pc:docMk/>
            <pc:sldMk cId="1346666615" sldId="2147480444"/>
            <ac:spMk id="9" creationId="{F98C7622-BFE8-1201-4482-0795493BBEAF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Viswanath, Manda" userId="S::manviswanath@deloitte.com::bc56b8a0-69ce-47f3-b12c-8aa0b60fe648" providerId="AD" clId="Web-{B1D02414-9A0E-17D1-A70C-9B3B6522E33D}" dt="2025-05-07T07:55:12.182" v="112" actId="20577"/>
              <pc2:cmMkLst xmlns:pc2="http://schemas.microsoft.com/office/powerpoint/2019/9/main/command">
                <pc:docMk/>
                <pc:sldMk cId="1346666615" sldId="2147480444"/>
                <pc2:cmMk id="{E2A6C046-EDD1-4B50-9533-37AF73309617}"/>
              </pc2:cmMkLst>
            </pc226:cmChg>
          </p:ext>
        </pc:extLst>
      </pc:sldChg>
    </pc:docChg>
  </pc:docChgLst>
  <pc:docChgLst>
    <pc:chgData name="Tanna, Drashty" userId="S::drtanna@deloitte.com::2ebec2a7-57b3-4ec0-a50b-e21cea8033ef" providerId="AD" clId="Web-{6FC52FD0-E9E5-4D82-4574-1D111FE69E44}"/>
    <pc:docChg chg="modSld">
      <pc:chgData name="Tanna, Drashty" userId="S::drtanna@deloitte.com::2ebec2a7-57b3-4ec0-a50b-e21cea8033ef" providerId="AD" clId="Web-{6FC52FD0-E9E5-4D82-4574-1D111FE69E44}" dt="2025-06-12T12:50:01.123" v="3107"/>
      <pc:docMkLst>
        <pc:docMk/>
      </pc:docMkLst>
      <pc:sldChg chg="modNotes">
        <pc:chgData name="Tanna, Drashty" userId="S::drtanna@deloitte.com::2ebec2a7-57b3-4ec0-a50b-e21cea8033ef" providerId="AD" clId="Web-{6FC52FD0-E9E5-4D82-4574-1D111FE69E44}" dt="2025-06-12T10:37:01.060" v="2952"/>
        <pc:sldMkLst>
          <pc:docMk/>
          <pc:sldMk cId="2104941130" sldId="2147480489"/>
        </pc:sldMkLst>
      </pc:sldChg>
      <pc:sldChg chg="modNotes">
        <pc:chgData name="Tanna, Drashty" userId="S::drtanna@deloitte.com::2ebec2a7-57b3-4ec0-a50b-e21cea8033ef" providerId="AD" clId="Web-{6FC52FD0-E9E5-4D82-4574-1D111FE69E44}" dt="2025-06-12T12:50:01.123" v="3107"/>
        <pc:sldMkLst>
          <pc:docMk/>
          <pc:sldMk cId="3046689714" sldId="2147480492"/>
        </pc:sldMkLst>
      </pc:sldChg>
      <pc:sldChg chg="modSp modNotes">
        <pc:chgData name="Tanna, Drashty" userId="S::drtanna@deloitte.com::2ebec2a7-57b3-4ec0-a50b-e21cea8033ef" providerId="AD" clId="Web-{6FC52FD0-E9E5-4D82-4574-1D111FE69E44}" dt="2025-06-12T10:36:43.341" v="2950"/>
        <pc:sldMkLst>
          <pc:docMk/>
          <pc:sldMk cId="1760046505" sldId="2147480493"/>
        </pc:sldMkLst>
        <pc:spChg chg="mod">
          <ac:chgData name="Tanna, Drashty" userId="S::drtanna@deloitte.com::2ebec2a7-57b3-4ec0-a50b-e21cea8033ef" providerId="AD" clId="Web-{6FC52FD0-E9E5-4D82-4574-1D111FE69E44}" dt="2025-06-12T10:12:12.017" v="2146" actId="20577"/>
          <ac:spMkLst>
            <pc:docMk/>
            <pc:sldMk cId="1760046505" sldId="2147480493"/>
            <ac:spMk id="3" creationId="{B8514A5B-F946-8838-73D7-B4B08518B491}"/>
          </ac:spMkLst>
        </pc:spChg>
        <pc:spChg chg="mod">
          <ac:chgData name="Tanna, Drashty" userId="S::drtanna@deloitte.com::2ebec2a7-57b3-4ec0-a50b-e21cea8033ef" providerId="AD" clId="Web-{6FC52FD0-E9E5-4D82-4574-1D111FE69E44}" dt="2025-06-12T09:12:10.086" v="1426" actId="20577"/>
          <ac:spMkLst>
            <pc:docMk/>
            <pc:sldMk cId="1760046505" sldId="2147480493"/>
            <ac:spMk id="4" creationId="{23C7FCA4-B11C-740A-4700-BB8DB0949F6E}"/>
          </ac:spMkLst>
        </pc:spChg>
        <pc:spChg chg="mod">
          <ac:chgData name="Tanna, Drashty" userId="S::drtanna@deloitte.com::2ebec2a7-57b3-4ec0-a50b-e21cea8033ef" providerId="AD" clId="Web-{6FC52FD0-E9E5-4D82-4574-1D111FE69E44}" dt="2025-06-12T09:16:37.425" v="1548" actId="1076"/>
          <ac:spMkLst>
            <pc:docMk/>
            <pc:sldMk cId="1760046505" sldId="2147480493"/>
            <ac:spMk id="5" creationId="{40FC205E-10D9-23EE-78A1-354ED5216020}"/>
          </ac:spMkLst>
        </pc:spChg>
        <pc:spChg chg="mod">
          <ac:chgData name="Tanna, Drashty" userId="S::drtanna@deloitte.com::2ebec2a7-57b3-4ec0-a50b-e21cea8033ef" providerId="AD" clId="Web-{6FC52FD0-E9E5-4D82-4574-1D111FE69E44}" dt="2025-06-12T09:16:58.582" v="1555" actId="20577"/>
          <ac:spMkLst>
            <pc:docMk/>
            <pc:sldMk cId="1760046505" sldId="2147480493"/>
            <ac:spMk id="7" creationId="{6F4AC9B1-42E7-A3C9-A9D3-43C6344250B0}"/>
          </ac:spMkLst>
        </pc:spChg>
      </pc:sldChg>
      <pc:sldChg chg="modSp modNotes">
        <pc:chgData name="Tanna, Drashty" userId="S::drtanna@deloitte.com::2ebec2a7-57b3-4ec0-a50b-e21cea8033ef" providerId="AD" clId="Web-{6FC52FD0-E9E5-4D82-4574-1D111FE69E44}" dt="2025-06-12T10:36:39.075" v="2944"/>
        <pc:sldMkLst>
          <pc:docMk/>
          <pc:sldMk cId="405523565" sldId="2147480494"/>
        </pc:sldMkLst>
        <pc:spChg chg="mod">
          <ac:chgData name="Tanna, Drashty" userId="S::drtanna@deloitte.com::2ebec2a7-57b3-4ec0-a50b-e21cea8033ef" providerId="AD" clId="Web-{6FC52FD0-E9E5-4D82-4574-1D111FE69E44}" dt="2025-06-12T10:09:18.573" v="2130" actId="20577"/>
          <ac:spMkLst>
            <pc:docMk/>
            <pc:sldMk cId="405523565" sldId="2147480494"/>
            <ac:spMk id="4" creationId="{EEE80C05-09C5-EFF5-530A-F6E9FE62F3D1}"/>
          </ac:spMkLst>
        </pc:spChg>
        <pc:spChg chg="mod">
          <ac:chgData name="Tanna, Drashty" userId="S::drtanna@deloitte.com::2ebec2a7-57b3-4ec0-a50b-e21cea8033ef" providerId="AD" clId="Web-{6FC52FD0-E9E5-4D82-4574-1D111FE69E44}" dt="2025-06-12T10:09:29.417" v="2138" actId="20577"/>
          <ac:spMkLst>
            <pc:docMk/>
            <pc:sldMk cId="405523565" sldId="2147480494"/>
            <ac:spMk id="5" creationId="{D1BAF33D-9D41-4B5E-0ADA-BFB3BD100E46}"/>
          </ac:spMkLst>
        </pc:spChg>
        <pc:spChg chg="mod">
          <ac:chgData name="Tanna, Drashty" userId="S::drtanna@deloitte.com::2ebec2a7-57b3-4ec0-a50b-e21cea8033ef" providerId="AD" clId="Web-{6FC52FD0-E9E5-4D82-4574-1D111FE69E44}" dt="2025-06-12T10:09:58.856" v="2145" actId="20577"/>
          <ac:spMkLst>
            <pc:docMk/>
            <pc:sldMk cId="405523565" sldId="2147480494"/>
            <ac:spMk id="7" creationId="{C181EB7E-1ABA-D5B5-CC0E-58D442D46950}"/>
          </ac:spMkLst>
        </pc:spChg>
      </pc:sldChg>
      <pc:sldChg chg="modNotes">
        <pc:chgData name="Tanna, Drashty" userId="S::drtanna@deloitte.com::2ebec2a7-57b3-4ec0-a50b-e21cea8033ef" providerId="AD" clId="Web-{6FC52FD0-E9E5-4D82-4574-1D111FE69E44}" dt="2025-06-12T12:34:54.760" v="2979"/>
        <pc:sldMkLst>
          <pc:docMk/>
          <pc:sldMk cId="4194400554" sldId="2147480495"/>
        </pc:sldMkLst>
      </pc:sldChg>
      <pc:sldChg chg="modNotes">
        <pc:chgData name="Tanna, Drashty" userId="S::drtanna@deloitte.com::2ebec2a7-57b3-4ec0-a50b-e21cea8033ef" providerId="AD" clId="Web-{6FC52FD0-E9E5-4D82-4574-1D111FE69E44}" dt="2025-06-12T12:45:58.555" v="3080"/>
        <pc:sldMkLst>
          <pc:docMk/>
          <pc:sldMk cId="1297285323" sldId="2147480500"/>
        </pc:sldMkLst>
      </pc:sldChg>
      <pc:sldChg chg="modNotes">
        <pc:chgData name="Tanna, Drashty" userId="S::drtanna@deloitte.com::2ebec2a7-57b3-4ec0-a50b-e21cea8033ef" providerId="AD" clId="Web-{6FC52FD0-E9E5-4D82-4574-1D111FE69E44}" dt="2025-06-12T12:36:34.215" v="2988"/>
        <pc:sldMkLst>
          <pc:docMk/>
          <pc:sldMk cId="3454177366" sldId="2147480501"/>
        </pc:sldMkLst>
      </pc:sldChg>
    </pc:docChg>
  </pc:docChgLst>
  <pc:docChgLst>
    <pc:chgData name="Kumar, Rajnish" userId="S::rajnkumar@deloitte.com::dcd8116d-7ee8-4dbf-8f56-038c2219e7ba" providerId="AD" clId="Web-{7E27596A-FF49-1A68-586C-4A2201BCD450}"/>
    <pc:docChg chg="modSld">
      <pc:chgData name="Kumar, Rajnish" userId="S::rajnkumar@deloitte.com::dcd8116d-7ee8-4dbf-8f56-038c2219e7ba" providerId="AD" clId="Web-{7E27596A-FF49-1A68-586C-4A2201BCD450}" dt="2025-06-13T12:57:29.882" v="291" actId="20577"/>
      <pc:docMkLst>
        <pc:docMk/>
      </pc:docMkLst>
      <pc:sldChg chg="modSp">
        <pc:chgData name="Kumar, Rajnish" userId="S::rajnkumar@deloitte.com::dcd8116d-7ee8-4dbf-8f56-038c2219e7ba" providerId="AD" clId="Web-{7E27596A-FF49-1A68-586C-4A2201BCD450}" dt="2025-06-13T12:57:29.882" v="291" actId="20577"/>
        <pc:sldMkLst>
          <pc:docMk/>
          <pc:sldMk cId="1334608779" sldId="2147480505"/>
        </pc:sldMkLst>
        <pc:spChg chg="mod">
          <ac:chgData name="Kumar, Rajnish" userId="S::rajnkumar@deloitte.com::dcd8116d-7ee8-4dbf-8f56-038c2219e7ba" providerId="AD" clId="Web-{7E27596A-FF49-1A68-586C-4A2201BCD450}" dt="2025-06-13T12:56:54.693" v="287" actId="1076"/>
          <ac:spMkLst>
            <pc:docMk/>
            <pc:sldMk cId="1334608779" sldId="2147480505"/>
            <ac:spMk id="4" creationId="{68A13524-9D29-A6B5-4D3C-C4D109E31EC6}"/>
          </ac:spMkLst>
        </pc:spChg>
        <pc:spChg chg="mod">
          <ac:chgData name="Kumar, Rajnish" userId="S::rajnkumar@deloitte.com::dcd8116d-7ee8-4dbf-8f56-038c2219e7ba" providerId="AD" clId="Web-{7E27596A-FF49-1A68-586C-4A2201BCD450}" dt="2025-06-13T12:56:22.552" v="283" actId="1076"/>
          <ac:spMkLst>
            <pc:docMk/>
            <pc:sldMk cId="1334608779" sldId="2147480505"/>
            <ac:spMk id="5" creationId="{3716EB21-9932-DBD3-878E-376EAA9A03EA}"/>
          </ac:spMkLst>
        </pc:spChg>
        <pc:spChg chg="mod">
          <ac:chgData name="Kumar, Rajnish" userId="S::rajnkumar@deloitte.com::dcd8116d-7ee8-4dbf-8f56-038c2219e7ba" providerId="AD" clId="Web-{7E27596A-FF49-1A68-586C-4A2201BCD450}" dt="2025-06-13T12:57:03.756" v="288" actId="1076"/>
          <ac:spMkLst>
            <pc:docMk/>
            <pc:sldMk cId="1334608779" sldId="2147480505"/>
            <ac:spMk id="6" creationId="{42E7CF98-D12A-B365-CC6A-8C20332ADE52}"/>
          </ac:spMkLst>
        </pc:spChg>
        <pc:spChg chg="mod">
          <ac:chgData name="Kumar, Rajnish" userId="S::rajnkumar@deloitte.com::dcd8116d-7ee8-4dbf-8f56-038c2219e7ba" providerId="AD" clId="Web-{7E27596A-FF49-1A68-586C-4A2201BCD450}" dt="2025-06-13T12:57:29.882" v="291" actId="20577"/>
          <ac:spMkLst>
            <pc:docMk/>
            <pc:sldMk cId="1334608779" sldId="2147480505"/>
            <ac:spMk id="9" creationId="{2A54431C-AD32-66B6-01C7-1C1786DB112B}"/>
          </ac:spMkLst>
        </pc:spChg>
      </pc:sldChg>
    </pc:docChg>
  </pc:docChgLst>
  <pc:docChgLst>
    <pc:chgData name="Misra, Animesh" userId="1f82ac2b-d78b-4ec5-bd6a-34d3d3bef593" providerId="ADAL" clId="{0B1C35B0-2F0C-4519-AEEB-934310AC27A1}"/>
    <pc:docChg chg="custSel modSld">
      <pc:chgData name="Misra, Animesh" userId="1f82ac2b-d78b-4ec5-bd6a-34d3d3bef593" providerId="ADAL" clId="{0B1C35B0-2F0C-4519-AEEB-934310AC27A1}" dt="2025-05-07T08:06:58.633" v="539" actId="6549"/>
      <pc:docMkLst>
        <pc:docMk/>
      </pc:docMkLst>
      <pc:sldChg chg="addSp modSp mod addCm modCm modNotesTx">
        <pc:chgData name="Misra, Animesh" userId="1f82ac2b-d78b-4ec5-bd6a-34d3d3bef593" providerId="ADAL" clId="{0B1C35B0-2F0C-4519-AEEB-934310AC27A1}" dt="2025-05-07T08:06:58.633" v="539" actId="6549"/>
        <pc:sldMkLst>
          <pc:docMk/>
          <pc:sldMk cId="1346666615" sldId="2147480444"/>
        </pc:sldMkLst>
        <pc:spChg chg="mod">
          <ac:chgData name="Misra, Animesh" userId="1f82ac2b-d78b-4ec5-bd6a-34d3d3bef593" providerId="ADAL" clId="{0B1C35B0-2F0C-4519-AEEB-934310AC27A1}" dt="2025-05-07T07:45:17.787" v="420" actId="20577"/>
          <ac:spMkLst>
            <pc:docMk/>
            <pc:sldMk cId="1346666615" sldId="2147480444"/>
            <ac:spMk id="3" creationId="{9247D1F4-4990-094A-160A-198DC9366B42}"/>
          </ac:spMkLst>
        </pc:spChg>
        <pc:spChg chg="mod">
          <ac:chgData name="Misra, Animesh" userId="1f82ac2b-d78b-4ec5-bd6a-34d3d3bef593" providerId="ADAL" clId="{0B1C35B0-2F0C-4519-AEEB-934310AC27A1}" dt="2025-05-07T08:06:58.633" v="539" actId="6549"/>
          <ac:spMkLst>
            <pc:docMk/>
            <pc:sldMk cId="1346666615" sldId="2147480444"/>
            <ac:spMk id="4" creationId="{EF7C0EE6-33BF-6D3D-107D-B73F925C8723}"/>
          </ac:spMkLst>
        </pc:spChg>
        <pc:spChg chg="mod">
          <ac:chgData name="Misra, Animesh" userId="1f82ac2b-d78b-4ec5-bd6a-34d3d3bef593" providerId="ADAL" clId="{0B1C35B0-2F0C-4519-AEEB-934310AC27A1}" dt="2025-05-07T07:43:47.004" v="386" actId="113"/>
          <ac:spMkLst>
            <pc:docMk/>
            <pc:sldMk cId="1346666615" sldId="2147480444"/>
            <ac:spMk id="5" creationId="{03DBFA8B-96C1-4BF4-FB59-985D561993D0}"/>
          </ac:spMkLst>
        </pc:spChg>
        <pc:spChg chg="mod">
          <ac:chgData name="Misra, Animesh" userId="1f82ac2b-d78b-4ec5-bd6a-34d3d3bef593" providerId="ADAL" clId="{0B1C35B0-2F0C-4519-AEEB-934310AC27A1}" dt="2025-05-07T07:45:53.354" v="424" actId="1076"/>
          <ac:spMkLst>
            <pc:docMk/>
            <pc:sldMk cId="1346666615" sldId="2147480444"/>
            <ac:spMk id="6" creationId="{09AFF085-F678-7CD3-4A7D-1BBD1D48C929}"/>
          </ac:spMkLst>
        </pc:spChg>
        <pc:spChg chg="add mod">
          <ac:chgData name="Misra, Animesh" userId="1f82ac2b-d78b-4ec5-bd6a-34d3d3bef593" providerId="ADAL" clId="{0B1C35B0-2F0C-4519-AEEB-934310AC27A1}" dt="2025-05-07T07:45:30.198" v="421" actId="1076"/>
          <ac:spMkLst>
            <pc:docMk/>
            <pc:sldMk cId="1346666615" sldId="2147480444"/>
            <ac:spMk id="7" creationId="{B7F9A1B9-26CF-3174-9B9B-FEFF867C2536}"/>
          </ac:spMkLst>
        </pc:spChg>
        <pc:spChg chg="mod">
          <ac:chgData name="Misra, Animesh" userId="1f82ac2b-d78b-4ec5-bd6a-34d3d3bef593" providerId="ADAL" clId="{0B1C35B0-2F0C-4519-AEEB-934310AC27A1}" dt="2025-05-07T07:21:33.216" v="0" actId="6549"/>
          <ac:spMkLst>
            <pc:docMk/>
            <pc:sldMk cId="1346666615" sldId="2147480444"/>
            <ac:spMk id="8" creationId="{51E1130C-A7D8-7C65-1A0A-76017773E0F2}"/>
          </ac:spMkLst>
        </pc:spChg>
        <pc:spChg chg="mod">
          <ac:chgData name="Misra, Animesh" userId="1f82ac2b-d78b-4ec5-bd6a-34d3d3bef593" providerId="ADAL" clId="{0B1C35B0-2F0C-4519-AEEB-934310AC27A1}" dt="2025-05-07T07:55:44.574" v="476" actId="14100"/>
          <ac:spMkLst>
            <pc:docMk/>
            <pc:sldMk cId="1346666615" sldId="2147480444"/>
            <ac:spMk id="9" creationId="{F98C7622-BFE8-1201-4482-0795493BBEAF}"/>
          </ac:spMkLst>
        </pc:spChg>
        <pc:spChg chg="add mod">
          <ac:chgData name="Misra, Animesh" userId="1f82ac2b-d78b-4ec5-bd6a-34d3d3bef593" providerId="ADAL" clId="{0B1C35B0-2F0C-4519-AEEB-934310AC27A1}" dt="2025-05-07T08:03:48.841" v="486" actId="14100"/>
          <ac:spMkLst>
            <pc:docMk/>
            <pc:sldMk cId="1346666615" sldId="2147480444"/>
            <ac:spMk id="10" creationId="{5F0F92A2-F8CF-EAF8-48A1-E6CA10F5C4B7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sra, Animesh" userId="1f82ac2b-d78b-4ec5-bd6a-34d3d3bef593" providerId="ADAL" clId="{0B1C35B0-2F0C-4519-AEEB-934310AC27A1}" dt="2025-05-07T08:05:08.356" v="487"/>
              <pc2:cmMkLst xmlns:pc2="http://schemas.microsoft.com/office/powerpoint/2019/9/main/command">
                <pc:docMk/>
                <pc:sldMk cId="1346666615" sldId="2147480444"/>
                <pc2:cmMk id="{E2A6C046-EDD1-4B50-9533-37AF73309617}"/>
              </pc2:cmMkLst>
              <pc226:cmRplyChg chg="add">
                <pc226:chgData name="Misra, Animesh" userId="1f82ac2b-d78b-4ec5-bd6a-34d3d3bef593" providerId="ADAL" clId="{0B1C35B0-2F0C-4519-AEEB-934310AC27A1}" dt="2025-05-07T08:05:08.356" v="487"/>
                <pc2:cmRplyMkLst xmlns:pc2="http://schemas.microsoft.com/office/powerpoint/2019/9/main/command">
                  <pc:docMk/>
                  <pc:sldMk cId="1346666615" sldId="2147480444"/>
                  <pc2:cmMk id="{E2A6C046-EDD1-4B50-9533-37AF73309617}"/>
                  <pc2:cmRplyMk id="{BDCC557C-A691-4305-8C71-663F773311AF}"/>
                </pc2:cmRplyMkLst>
              </pc226:cmRplyChg>
            </pc226:cmChg>
          </p:ext>
        </pc:extLst>
      </pc:sldChg>
      <pc:sldChg chg="modSp mod">
        <pc:chgData name="Misra, Animesh" userId="1f82ac2b-d78b-4ec5-bd6a-34d3d3bef593" providerId="ADAL" clId="{0B1C35B0-2F0C-4519-AEEB-934310AC27A1}" dt="2025-05-07T07:27:50.228" v="75" actId="5793"/>
        <pc:sldMkLst>
          <pc:docMk/>
          <pc:sldMk cId="3313104319" sldId="2147480446"/>
        </pc:sldMkLst>
        <pc:spChg chg="mod">
          <ac:chgData name="Misra, Animesh" userId="1f82ac2b-d78b-4ec5-bd6a-34d3d3bef593" providerId="ADAL" clId="{0B1C35B0-2F0C-4519-AEEB-934310AC27A1}" dt="2025-05-07T07:27:50.228" v="75" actId="5793"/>
          <ac:spMkLst>
            <pc:docMk/>
            <pc:sldMk cId="3313104319" sldId="2147480446"/>
            <ac:spMk id="9" creationId="{F2A300F8-E791-767F-ADA9-9D9FC7B910F6}"/>
          </ac:spMkLst>
        </pc:spChg>
      </pc:sldChg>
    </pc:docChg>
  </pc:docChgLst>
  <pc:docChgLst>
    <pc:chgData name="Aireddy, Santhosh Kumar" userId="d453da9d-4a7c-481b-95d8-e20bb9129104" providerId="ADAL" clId="{DC5E1917-D4B0-4873-ACEC-72F63815B787}"/>
    <pc:docChg chg="undo custSel addSld delSld modSld modSection">
      <pc:chgData name="Aireddy, Santhosh Kumar" userId="d453da9d-4a7c-481b-95d8-e20bb9129104" providerId="ADAL" clId="{DC5E1917-D4B0-4873-ACEC-72F63815B787}" dt="2025-05-07T08:06:37.987" v="1640" actId="113"/>
      <pc:docMkLst>
        <pc:docMk/>
      </pc:docMkLst>
      <pc:sldChg chg="addSp delSp modSp mod">
        <pc:chgData name="Aireddy, Santhosh Kumar" userId="d453da9d-4a7c-481b-95d8-e20bb9129104" providerId="ADAL" clId="{DC5E1917-D4B0-4873-ACEC-72F63815B787}" dt="2025-05-07T07:46:34.892" v="1417" actId="108"/>
        <pc:sldMkLst>
          <pc:docMk/>
          <pc:sldMk cId="1326975581" sldId="1242"/>
        </pc:sldMkLst>
        <pc:spChg chg="mod">
          <ac:chgData name="Aireddy, Santhosh Kumar" userId="d453da9d-4a7c-481b-95d8-e20bb9129104" providerId="ADAL" clId="{DC5E1917-D4B0-4873-ACEC-72F63815B787}" dt="2025-05-07T07:45:24.050" v="1329" actId="20577"/>
          <ac:spMkLst>
            <pc:docMk/>
            <pc:sldMk cId="1326975581" sldId="1242"/>
            <ac:spMk id="3" creationId="{C34EE1C7-7022-E52F-3479-93FEA4F20104}"/>
          </ac:spMkLst>
        </pc:spChg>
        <pc:spChg chg="mod">
          <ac:chgData name="Aireddy, Santhosh Kumar" userId="d453da9d-4a7c-481b-95d8-e20bb9129104" providerId="ADAL" clId="{DC5E1917-D4B0-4873-ACEC-72F63815B787}" dt="2025-05-07T07:45:43.209" v="1332" actId="14100"/>
          <ac:spMkLst>
            <pc:docMk/>
            <pc:sldMk cId="1326975581" sldId="1242"/>
            <ac:spMk id="5" creationId="{0F52009C-203E-F9D1-5093-44B75552C131}"/>
          </ac:spMkLst>
        </pc:spChg>
        <pc:spChg chg="mod">
          <ac:chgData name="Aireddy, Santhosh Kumar" userId="d453da9d-4a7c-481b-95d8-e20bb9129104" providerId="ADAL" clId="{DC5E1917-D4B0-4873-ACEC-72F63815B787}" dt="2025-05-07T07:46:16.899" v="1414" actId="313"/>
          <ac:spMkLst>
            <pc:docMk/>
            <pc:sldMk cId="1326975581" sldId="1242"/>
            <ac:spMk id="6" creationId="{5BB1876E-8859-3EDE-E884-7999A7F95D48}"/>
          </ac:spMkLst>
        </pc:spChg>
        <pc:spChg chg="mod">
          <ac:chgData name="Aireddy, Santhosh Kumar" userId="d453da9d-4a7c-481b-95d8-e20bb9129104" providerId="ADAL" clId="{DC5E1917-D4B0-4873-ACEC-72F63815B787}" dt="2025-05-07T07:44:58.964" v="1304"/>
          <ac:spMkLst>
            <pc:docMk/>
            <pc:sldMk cId="1326975581" sldId="1242"/>
            <ac:spMk id="8" creationId="{D028919E-6403-0550-2579-156D07CFA80D}"/>
          </ac:spMkLst>
        </pc:spChg>
        <pc:spChg chg="mod">
          <ac:chgData name="Aireddy, Santhosh Kumar" userId="d453da9d-4a7c-481b-95d8-e20bb9129104" providerId="ADAL" clId="{DC5E1917-D4B0-4873-ACEC-72F63815B787}" dt="2025-05-07T07:46:34.892" v="1417" actId="108"/>
          <ac:spMkLst>
            <pc:docMk/>
            <pc:sldMk cId="1326975581" sldId="1242"/>
            <ac:spMk id="9" creationId="{1AC189B4-F73A-5839-D077-63290EE73F94}"/>
          </ac:spMkLst>
        </pc:spChg>
      </pc:sldChg>
      <pc:sldChg chg="addSp delSp modSp del mod">
        <pc:chgData name="Aireddy, Santhosh Kumar" userId="d453da9d-4a7c-481b-95d8-e20bb9129104" providerId="ADAL" clId="{DC5E1917-D4B0-4873-ACEC-72F63815B787}" dt="2025-05-07T07:31:08.232" v="1092" actId="47"/>
        <pc:sldMkLst>
          <pc:docMk/>
          <pc:sldMk cId="1840046561" sldId="2147480441"/>
        </pc:sldMkLst>
      </pc:sldChg>
      <pc:sldChg chg="addSp delSp modSp del mod">
        <pc:chgData name="Aireddy, Santhosh Kumar" userId="d453da9d-4a7c-481b-95d8-e20bb9129104" providerId="ADAL" clId="{DC5E1917-D4B0-4873-ACEC-72F63815B787}" dt="2025-05-07T07:35:36.978" v="1233" actId="47"/>
        <pc:sldMkLst>
          <pc:docMk/>
          <pc:sldMk cId="3522413020" sldId="2147480442"/>
        </pc:sldMkLst>
      </pc:sldChg>
      <pc:sldChg chg="modCm">
        <pc:chgData name="Aireddy, Santhosh Kumar" userId="d453da9d-4a7c-481b-95d8-e20bb9129104" providerId="ADAL" clId="{DC5E1917-D4B0-4873-ACEC-72F63815B787}" dt="2025-05-07T07:58:01.221" v="1499"/>
        <pc:sldMkLst>
          <pc:docMk/>
          <pc:sldMk cId="1346666615" sldId="214748044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Aireddy, Santhosh Kumar" userId="d453da9d-4a7c-481b-95d8-e20bb9129104" providerId="ADAL" clId="{DC5E1917-D4B0-4873-ACEC-72F63815B787}" dt="2025-05-07T07:58:01.221" v="1499"/>
              <pc2:cmMkLst xmlns:pc2="http://schemas.microsoft.com/office/powerpoint/2019/9/main/command">
                <pc:docMk/>
                <pc:sldMk cId="1346666615" sldId="2147480444"/>
                <pc2:cmMk id="{E2A6C046-EDD1-4B50-9533-37AF73309617}"/>
              </pc2:cmMkLst>
              <pc226:cmRplyChg chg="add">
                <pc226:chgData name="Aireddy, Santhosh Kumar" userId="d453da9d-4a7c-481b-95d8-e20bb9129104" providerId="ADAL" clId="{DC5E1917-D4B0-4873-ACEC-72F63815B787}" dt="2025-05-07T07:58:01.221" v="1499"/>
                <pc2:cmRplyMkLst xmlns:pc2="http://schemas.microsoft.com/office/powerpoint/2019/9/main/command">
                  <pc:docMk/>
                  <pc:sldMk cId="1346666615" sldId="2147480444"/>
                  <pc2:cmMk id="{E2A6C046-EDD1-4B50-9533-37AF73309617}"/>
                  <pc2:cmRplyMk id="{BF952C2F-27B3-4AC5-96BD-BC0EBADCD814}"/>
                </pc2:cmRplyMkLst>
              </pc226:cmRplyChg>
            </pc226:cmChg>
          </p:ext>
        </pc:extLst>
      </pc:sldChg>
      <pc:sldChg chg="addSp delSp modSp new mod">
        <pc:chgData name="Aireddy, Santhosh Kumar" userId="d453da9d-4a7c-481b-95d8-e20bb9129104" providerId="ADAL" clId="{DC5E1917-D4B0-4873-ACEC-72F63815B787}" dt="2025-05-07T08:06:37.987" v="1640" actId="113"/>
        <pc:sldMkLst>
          <pc:docMk/>
          <pc:sldMk cId="2377441625" sldId="2147480450"/>
        </pc:sldMkLst>
        <pc:spChg chg="mod">
          <ac:chgData name="Aireddy, Santhosh Kumar" userId="d453da9d-4a7c-481b-95d8-e20bb9129104" providerId="ADAL" clId="{DC5E1917-D4B0-4873-ACEC-72F63815B787}" dt="2025-05-07T07:57:13.139" v="1497" actId="20577"/>
          <ac:spMkLst>
            <pc:docMk/>
            <pc:sldMk cId="2377441625" sldId="2147480450"/>
            <ac:spMk id="3" creationId="{25D47BCC-EEB5-8216-FB69-4408132FD0F7}"/>
          </ac:spMkLst>
        </pc:spChg>
        <pc:spChg chg="add mod">
          <ac:chgData name="Aireddy, Santhosh Kumar" userId="d453da9d-4a7c-481b-95d8-e20bb9129104" providerId="ADAL" clId="{DC5E1917-D4B0-4873-ACEC-72F63815B787}" dt="2025-05-07T07:57:10.549" v="1490" actId="1076"/>
          <ac:spMkLst>
            <pc:docMk/>
            <pc:sldMk cId="2377441625" sldId="2147480450"/>
            <ac:spMk id="5" creationId="{3DCB137F-50ED-8481-F119-83883240FFCB}"/>
          </ac:spMkLst>
        </pc:spChg>
        <pc:spChg chg="add mod">
          <ac:chgData name="Aireddy, Santhosh Kumar" userId="d453da9d-4a7c-481b-95d8-e20bb9129104" providerId="ADAL" clId="{DC5E1917-D4B0-4873-ACEC-72F63815B787}" dt="2025-05-07T08:06:37.987" v="1640" actId="113"/>
          <ac:spMkLst>
            <pc:docMk/>
            <pc:sldMk cId="2377441625" sldId="2147480450"/>
            <ac:spMk id="9" creationId="{FBA20C85-7E27-2D31-37E2-AD884B9CE51C}"/>
          </ac:spMkLst>
        </pc:spChg>
        <pc:graphicFrameChg chg="add mod modGraphic">
          <ac:chgData name="Aireddy, Santhosh Kumar" userId="d453da9d-4a7c-481b-95d8-e20bb9129104" providerId="ADAL" clId="{DC5E1917-D4B0-4873-ACEC-72F63815B787}" dt="2025-05-07T07:57:20.116" v="1498" actId="1076"/>
          <ac:graphicFrameMkLst>
            <pc:docMk/>
            <pc:sldMk cId="2377441625" sldId="2147480450"/>
            <ac:graphicFrameMk id="4" creationId="{1D4A7938-82EB-5079-0E08-53A356CC6808}"/>
          </ac:graphicFrameMkLst>
        </pc:graphicFrameChg>
      </pc:sldChg>
      <pc:sldChg chg="addSp delSp modSp mod">
        <pc:chgData name="Aireddy, Santhosh Kumar" userId="d453da9d-4a7c-481b-95d8-e20bb9129104" providerId="ADAL" clId="{DC5E1917-D4B0-4873-ACEC-72F63815B787}" dt="2025-05-07T07:55:30.772" v="1443" actId="1076"/>
        <pc:sldMkLst>
          <pc:docMk/>
          <pc:sldMk cId="3943323305" sldId="2147480451"/>
        </pc:sldMkLst>
        <pc:spChg chg="mod">
          <ac:chgData name="Aireddy, Santhosh Kumar" userId="d453da9d-4a7c-481b-95d8-e20bb9129104" providerId="ADAL" clId="{DC5E1917-D4B0-4873-ACEC-72F63815B787}" dt="2025-05-07T07:51:55.290" v="1418"/>
          <ac:spMkLst>
            <pc:docMk/>
            <pc:sldMk cId="3943323305" sldId="2147480451"/>
            <ac:spMk id="3" creationId="{8A56E455-E02B-96F5-C2AA-4E4E780CBDBD}"/>
          </ac:spMkLst>
        </pc:spChg>
        <pc:spChg chg="mod">
          <ac:chgData name="Aireddy, Santhosh Kumar" userId="d453da9d-4a7c-481b-95d8-e20bb9129104" providerId="ADAL" clId="{DC5E1917-D4B0-4873-ACEC-72F63815B787}" dt="2025-05-07T07:53:52.742" v="1442" actId="6549"/>
          <ac:spMkLst>
            <pc:docMk/>
            <pc:sldMk cId="3943323305" sldId="2147480451"/>
            <ac:spMk id="4" creationId="{D00745B2-75A1-0AC8-4C39-5618D6FF5C1B}"/>
          </ac:spMkLst>
        </pc:spChg>
        <pc:spChg chg="mod">
          <ac:chgData name="Aireddy, Santhosh Kumar" userId="d453da9d-4a7c-481b-95d8-e20bb9129104" providerId="ADAL" clId="{DC5E1917-D4B0-4873-ACEC-72F63815B787}" dt="2025-05-07T07:52:32.533" v="1421" actId="108"/>
          <ac:spMkLst>
            <pc:docMk/>
            <pc:sldMk cId="3943323305" sldId="2147480451"/>
            <ac:spMk id="5" creationId="{14A88BCF-9352-A540-345D-D4C26E14DEBF}"/>
          </ac:spMkLst>
        </pc:spChg>
        <pc:spChg chg="mod">
          <ac:chgData name="Aireddy, Santhosh Kumar" userId="d453da9d-4a7c-481b-95d8-e20bb9129104" providerId="ADAL" clId="{DC5E1917-D4B0-4873-ACEC-72F63815B787}" dt="2025-05-07T07:55:30.772" v="1443" actId="1076"/>
          <ac:spMkLst>
            <pc:docMk/>
            <pc:sldMk cId="3943323305" sldId="2147480451"/>
            <ac:spMk id="6" creationId="{C7AB02ED-6B99-D130-88DA-D3AE5E8812C4}"/>
          </ac:spMkLst>
        </pc:spChg>
        <pc:spChg chg="mod">
          <ac:chgData name="Aireddy, Santhosh Kumar" userId="d453da9d-4a7c-481b-95d8-e20bb9129104" providerId="ADAL" clId="{DC5E1917-D4B0-4873-ACEC-72F63815B787}" dt="2025-05-07T07:52:00.539" v="1419"/>
          <ac:spMkLst>
            <pc:docMk/>
            <pc:sldMk cId="3943323305" sldId="2147480451"/>
            <ac:spMk id="8" creationId="{BA657787-4731-0A0C-9EFF-BF32F828B6E8}"/>
          </ac:spMkLst>
        </pc:spChg>
        <pc:spChg chg="add mod">
          <ac:chgData name="Aireddy, Santhosh Kumar" userId="d453da9d-4a7c-481b-95d8-e20bb9129104" providerId="ADAL" clId="{DC5E1917-D4B0-4873-ACEC-72F63815B787}" dt="2025-05-07T07:53:02.075" v="1427"/>
          <ac:spMkLst>
            <pc:docMk/>
            <pc:sldMk cId="3943323305" sldId="2147480451"/>
            <ac:spMk id="10" creationId="{8D61C51C-1B86-64A2-850D-2523E0447588}"/>
          </ac:spMkLst>
        </pc:spChg>
      </pc:sldChg>
      <pc:sldChg chg="addSp delSp modSp add mod">
        <pc:chgData name="Aireddy, Santhosh Kumar" userId="d453da9d-4a7c-481b-95d8-e20bb9129104" providerId="ADAL" clId="{DC5E1917-D4B0-4873-ACEC-72F63815B787}" dt="2025-05-07T07:42:09.887" v="1302" actId="20577"/>
        <pc:sldMkLst>
          <pc:docMk/>
          <pc:sldMk cId="258167040" sldId="2147480453"/>
        </pc:sldMkLst>
        <pc:spChg chg="mod">
          <ac:chgData name="Aireddy, Santhosh Kumar" userId="d453da9d-4a7c-481b-95d8-e20bb9129104" providerId="ADAL" clId="{DC5E1917-D4B0-4873-ACEC-72F63815B787}" dt="2025-05-07T07:32:14.552" v="1145" actId="20577"/>
          <ac:spMkLst>
            <pc:docMk/>
            <pc:sldMk cId="258167040" sldId="2147480453"/>
            <ac:spMk id="3" creationId="{8A56E455-E02B-96F5-C2AA-4E4E780CBDBD}"/>
          </ac:spMkLst>
        </pc:spChg>
        <pc:spChg chg="mod">
          <ac:chgData name="Aireddy, Santhosh Kumar" userId="d453da9d-4a7c-481b-95d8-e20bb9129104" providerId="ADAL" clId="{DC5E1917-D4B0-4873-ACEC-72F63815B787}" dt="2025-05-07T07:35:14.733" v="1232" actId="20577"/>
          <ac:spMkLst>
            <pc:docMk/>
            <pc:sldMk cId="258167040" sldId="2147480453"/>
            <ac:spMk id="4" creationId="{D00745B2-75A1-0AC8-4C39-5618D6FF5C1B}"/>
          </ac:spMkLst>
        </pc:spChg>
        <pc:spChg chg="mod">
          <ac:chgData name="Aireddy, Santhosh Kumar" userId="d453da9d-4a7c-481b-95d8-e20bb9129104" providerId="ADAL" clId="{DC5E1917-D4B0-4873-ACEC-72F63815B787}" dt="2025-05-07T07:33:33.009" v="1154" actId="1076"/>
          <ac:spMkLst>
            <pc:docMk/>
            <pc:sldMk cId="258167040" sldId="2147480453"/>
            <ac:spMk id="5" creationId="{14A88BCF-9352-A540-345D-D4C26E14DEBF}"/>
          </ac:spMkLst>
        </pc:spChg>
        <pc:spChg chg="mod">
          <ac:chgData name="Aireddy, Santhosh Kumar" userId="d453da9d-4a7c-481b-95d8-e20bb9129104" providerId="ADAL" clId="{DC5E1917-D4B0-4873-ACEC-72F63815B787}" dt="2025-05-07T07:42:09.887" v="1302" actId="20577"/>
          <ac:spMkLst>
            <pc:docMk/>
            <pc:sldMk cId="258167040" sldId="2147480453"/>
            <ac:spMk id="6" creationId="{C7AB02ED-6B99-D130-88DA-D3AE5E8812C4}"/>
          </ac:spMkLst>
        </pc:spChg>
        <pc:spChg chg="add mod">
          <ac:chgData name="Aireddy, Santhosh Kumar" userId="d453da9d-4a7c-481b-95d8-e20bb9129104" providerId="ADAL" clId="{DC5E1917-D4B0-4873-ACEC-72F63815B787}" dt="2025-05-07T07:40:34.012" v="1261" actId="12"/>
          <ac:spMkLst>
            <pc:docMk/>
            <pc:sldMk cId="258167040" sldId="2147480453"/>
            <ac:spMk id="7" creationId="{6A0580D2-C128-7299-A175-11A5B3D15875}"/>
          </ac:spMkLst>
        </pc:spChg>
        <pc:spChg chg="mod">
          <ac:chgData name="Aireddy, Santhosh Kumar" userId="d453da9d-4a7c-481b-95d8-e20bb9129104" providerId="ADAL" clId="{DC5E1917-D4B0-4873-ACEC-72F63815B787}" dt="2025-05-07T07:32:27.292" v="1148" actId="6549"/>
          <ac:spMkLst>
            <pc:docMk/>
            <pc:sldMk cId="258167040" sldId="2147480453"/>
            <ac:spMk id="8" creationId="{BA657787-4731-0A0C-9EFF-BF32F828B6E8}"/>
          </ac:spMkLst>
        </pc:spChg>
      </pc:sldChg>
      <pc:sldChg chg="new del">
        <pc:chgData name="Aireddy, Santhosh Kumar" userId="d453da9d-4a7c-481b-95d8-e20bb9129104" providerId="ADAL" clId="{DC5E1917-D4B0-4873-ACEC-72F63815B787}" dt="2025-05-07T07:31:16.289" v="1094" actId="680"/>
        <pc:sldMkLst>
          <pc:docMk/>
          <pc:sldMk cId="1840983762" sldId="2147480453"/>
        </pc:sldMkLst>
      </pc:sldChg>
    </pc:docChg>
  </pc:docChgLst>
  <pc:docChgLst>
    <pc:chgData name="Damaraju, Phani" userId="5b2a6c30-fdf1-41b4-812d-91ce3c015cb9" providerId="ADAL" clId="{B6C26FFC-A7D4-478E-AEFB-B5A18497286D}"/>
    <pc:docChg chg="undo custSel addSld delSld modSld sldOrd addSection modSection">
      <pc:chgData name="Damaraju, Phani" userId="5b2a6c30-fdf1-41b4-812d-91ce3c015cb9" providerId="ADAL" clId="{B6C26FFC-A7D4-478E-AEFB-B5A18497286D}" dt="2025-05-09T14:39:11.836" v="1203" actId="14100"/>
      <pc:docMkLst>
        <pc:docMk/>
      </pc:docMkLst>
      <pc:sldChg chg="del">
        <pc:chgData name="Damaraju, Phani" userId="5b2a6c30-fdf1-41b4-812d-91ce3c015cb9" providerId="ADAL" clId="{B6C26FFC-A7D4-478E-AEFB-B5A18497286D}" dt="2025-05-07T06:19:40.290" v="547" actId="47"/>
        <pc:sldMkLst>
          <pc:docMk/>
          <pc:sldMk cId="1791843138" sldId="594"/>
        </pc:sldMkLst>
      </pc:sldChg>
      <pc:sldChg chg="del">
        <pc:chgData name="Damaraju, Phani" userId="5b2a6c30-fdf1-41b4-812d-91ce3c015cb9" providerId="ADAL" clId="{B6C26FFC-A7D4-478E-AEFB-B5A18497286D}" dt="2025-05-07T06:19:51.498" v="549" actId="47"/>
        <pc:sldMkLst>
          <pc:docMk/>
          <pc:sldMk cId="1867776749" sldId="1051"/>
        </pc:sldMkLst>
      </pc:sldChg>
      <pc:sldChg chg="addSp delSp modSp add del mod">
        <pc:chgData name="Damaraju, Phani" userId="5b2a6c30-fdf1-41b4-812d-91ce3c015cb9" providerId="ADAL" clId="{B6C26FFC-A7D4-478E-AEFB-B5A18497286D}" dt="2025-05-09T14:39:11.836" v="1203" actId="14100"/>
        <pc:sldMkLst>
          <pc:docMk/>
          <pc:sldMk cId="1326975581" sldId="1242"/>
        </pc:sldMkLst>
        <pc:spChg chg="mod">
          <ac:chgData name="Damaraju, Phani" userId="5b2a6c30-fdf1-41b4-812d-91ce3c015cb9" providerId="ADAL" clId="{B6C26FFC-A7D4-478E-AEFB-B5A18497286D}" dt="2025-05-07T06:13:22.810" v="116" actId="21"/>
          <ac:spMkLst>
            <pc:docMk/>
            <pc:sldMk cId="1326975581" sldId="1242"/>
            <ac:spMk id="2" creationId="{BC88F86F-3F7F-2686-D552-4A292409C438}"/>
          </ac:spMkLst>
        </pc:spChg>
        <pc:spChg chg="mod">
          <ac:chgData name="Damaraju, Phani" userId="5b2a6c30-fdf1-41b4-812d-91ce3c015cb9" providerId="ADAL" clId="{B6C26FFC-A7D4-478E-AEFB-B5A18497286D}" dt="2025-05-07T06:13:26.301" v="118" actId="20577"/>
          <ac:spMkLst>
            <pc:docMk/>
            <pc:sldMk cId="1326975581" sldId="1242"/>
            <ac:spMk id="3" creationId="{C34EE1C7-7022-E52F-3479-93FEA4F20104}"/>
          </ac:spMkLst>
        </pc:spChg>
        <pc:spChg chg="add mod">
          <ac:chgData name="Damaraju, Phani" userId="5b2a6c30-fdf1-41b4-812d-91ce3c015cb9" providerId="ADAL" clId="{B6C26FFC-A7D4-478E-AEFB-B5A18497286D}" dt="2025-05-09T14:39:05.988" v="1201" actId="14100"/>
          <ac:spMkLst>
            <pc:docMk/>
            <pc:sldMk cId="1326975581" sldId="1242"/>
            <ac:spMk id="4" creationId="{C578ACA3-AADC-8C02-A715-D5F3074BF440}"/>
          </ac:spMkLst>
        </pc:spChg>
        <pc:spChg chg="add mod">
          <ac:chgData name="Damaraju, Phani" userId="5b2a6c30-fdf1-41b4-812d-91ce3c015cb9" providerId="ADAL" clId="{B6C26FFC-A7D4-478E-AEFB-B5A18497286D}" dt="2025-05-07T06:14:15.230" v="182" actId="20577"/>
          <ac:spMkLst>
            <pc:docMk/>
            <pc:sldMk cId="1326975581" sldId="1242"/>
            <ac:spMk id="5" creationId="{0F52009C-203E-F9D1-5093-44B75552C131}"/>
          </ac:spMkLst>
        </pc:spChg>
        <pc:spChg chg="add mod">
          <ac:chgData name="Damaraju, Phani" userId="5b2a6c30-fdf1-41b4-812d-91ce3c015cb9" providerId="ADAL" clId="{B6C26FFC-A7D4-478E-AEFB-B5A18497286D}" dt="2025-05-07T06:18:06.360" v="511" actId="20577"/>
          <ac:spMkLst>
            <pc:docMk/>
            <pc:sldMk cId="1326975581" sldId="1242"/>
            <ac:spMk id="6" creationId="{5BB1876E-8859-3EDE-E884-7999A7F95D48}"/>
          </ac:spMkLst>
        </pc:spChg>
        <pc:spChg chg="add mod">
          <ac:chgData name="Damaraju, Phani" userId="5b2a6c30-fdf1-41b4-812d-91ce3c015cb9" providerId="ADAL" clId="{B6C26FFC-A7D4-478E-AEFB-B5A18497286D}" dt="2025-05-07T06:14:07.834" v="162" actId="20577"/>
          <ac:spMkLst>
            <pc:docMk/>
            <pc:sldMk cId="1326975581" sldId="1242"/>
            <ac:spMk id="8" creationId="{D028919E-6403-0550-2579-156D07CFA80D}"/>
          </ac:spMkLst>
        </pc:spChg>
        <pc:spChg chg="add mod">
          <ac:chgData name="Damaraju, Phani" userId="5b2a6c30-fdf1-41b4-812d-91ce3c015cb9" providerId="ADAL" clId="{B6C26FFC-A7D4-478E-AEFB-B5A18497286D}" dt="2025-05-09T14:39:11.836" v="1203" actId="14100"/>
          <ac:spMkLst>
            <pc:docMk/>
            <pc:sldMk cId="1326975581" sldId="1242"/>
            <ac:spMk id="9" creationId="{1AC189B4-F73A-5839-D077-63290EE73F94}"/>
          </ac:spMkLst>
        </pc:spChg>
      </pc:sldChg>
      <pc:sldChg chg="del">
        <pc:chgData name="Damaraju, Phani" userId="5b2a6c30-fdf1-41b4-812d-91ce3c015cb9" providerId="ADAL" clId="{B6C26FFC-A7D4-478E-AEFB-B5A18497286D}" dt="2025-05-07T06:19:51.498" v="549" actId="47"/>
        <pc:sldMkLst>
          <pc:docMk/>
          <pc:sldMk cId="1506176342" sldId="1244"/>
        </pc:sldMkLst>
      </pc:sldChg>
      <pc:sldChg chg="del">
        <pc:chgData name="Damaraju, Phani" userId="5b2a6c30-fdf1-41b4-812d-91ce3c015cb9" providerId="ADAL" clId="{B6C26FFC-A7D4-478E-AEFB-B5A18497286D}" dt="2025-05-07T06:19:52.810" v="550" actId="47"/>
        <pc:sldMkLst>
          <pc:docMk/>
          <pc:sldMk cId="1010963659" sldId="1254"/>
        </pc:sldMkLst>
      </pc:sldChg>
      <pc:sldChg chg="ord">
        <pc:chgData name="Damaraju, Phani" userId="5b2a6c30-fdf1-41b4-812d-91ce3c015cb9" providerId="ADAL" clId="{B6C26FFC-A7D4-478E-AEFB-B5A18497286D}" dt="2025-05-07T06:28:11.637" v="1179"/>
        <pc:sldMkLst>
          <pc:docMk/>
          <pc:sldMk cId="2574866787" sldId="2147480300"/>
        </pc:sldMkLst>
      </pc:sldChg>
      <pc:sldChg chg="del">
        <pc:chgData name="Damaraju, Phani" userId="5b2a6c30-fdf1-41b4-812d-91ce3c015cb9" providerId="ADAL" clId="{B6C26FFC-A7D4-478E-AEFB-B5A18497286D}" dt="2025-05-07T06:19:42.529" v="548" actId="47"/>
        <pc:sldMkLst>
          <pc:docMk/>
          <pc:sldMk cId="1555018371" sldId="2147480435"/>
        </pc:sldMkLst>
      </pc:sldChg>
      <pc:sldChg chg="ord">
        <pc:chgData name="Damaraju, Phani" userId="5b2a6c30-fdf1-41b4-812d-91ce3c015cb9" providerId="ADAL" clId="{B6C26FFC-A7D4-478E-AEFB-B5A18497286D}" dt="2025-05-07T06:27:58.769" v="1177"/>
        <pc:sldMkLst>
          <pc:docMk/>
          <pc:sldMk cId="3110954754" sldId="2147480436"/>
        </pc:sldMkLst>
      </pc:sldChg>
      <pc:sldChg chg="ord">
        <pc:chgData name="Damaraju, Phani" userId="5b2a6c30-fdf1-41b4-812d-91ce3c015cb9" providerId="ADAL" clId="{B6C26FFC-A7D4-478E-AEFB-B5A18497286D}" dt="2025-05-07T06:18:40.726" v="528"/>
        <pc:sldMkLst>
          <pc:docMk/>
          <pc:sldMk cId="2375485167" sldId="2147480437"/>
        </pc:sldMkLst>
      </pc:sldChg>
      <pc:sldChg chg="del">
        <pc:chgData name="Damaraju, Phani" userId="5b2a6c30-fdf1-41b4-812d-91ce3c015cb9" providerId="ADAL" clId="{B6C26FFC-A7D4-478E-AEFB-B5A18497286D}" dt="2025-05-07T06:19:51.498" v="549" actId="47"/>
        <pc:sldMkLst>
          <pc:docMk/>
          <pc:sldMk cId="1393634335" sldId="2147480438"/>
        </pc:sldMkLst>
      </pc:sldChg>
      <pc:sldChg chg="del">
        <pc:chgData name="Damaraju, Phani" userId="5b2a6c30-fdf1-41b4-812d-91ce3c015cb9" providerId="ADAL" clId="{B6C26FFC-A7D4-478E-AEFB-B5A18497286D}" dt="2025-05-07T06:19:51.498" v="549" actId="47"/>
        <pc:sldMkLst>
          <pc:docMk/>
          <pc:sldMk cId="3913187098" sldId="2147480439"/>
        </pc:sldMkLst>
      </pc:sldChg>
      <pc:sldChg chg="modSp add mod">
        <pc:chgData name="Damaraju, Phani" userId="5b2a6c30-fdf1-41b4-812d-91ce3c015cb9" providerId="ADAL" clId="{B6C26FFC-A7D4-478E-AEFB-B5A18497286D}" dt="2025-05-07T06:18:49.116" v="541" actId="5793"/>
        <pc:sldMkLst>
          <pc:docMk/>
          <pc:sldMk cId="644704564" sldId="2147480440"/>
        </pc:sldMkLst>
        <pc:spChg chg="mod">
          <ac:chgData name="Damaraju, Phani" userId="5b2a6c30-fdf1-41b4-812d-91ce3c015cb9" providerId="ADAL" clId="{B6C26FFC-A7D4-478E-AEFB-B5A18497286D}" dt="2025-05-07T06:18:49.116" v="541" actId="5793"/>
          <ac:spMkLst>
            <pc:docMk/>
            <pc:sldMk cId="644704564" sldId="2147480440"/>
            <ac:spMk id="7" creationId="{716C1C52-BA00-EF3D-C8CC-6C40CEA2E30D}"/>
          </ac:spMkLst>
        </pc:spChg>
      </pc:sldChg>
      <pc:sldChg chg="modSp add mod">
        <pc:chgData name="Damaraju, Phani" userId="5b2a6c30-fdf1-41b4-812d-91ce3c015cb9" providerId="ADAL" clId="{B6C26FFC-A7D4-478E-AEFB-B5A18497286D}" dt="2025-05-07T07:25:07.876" v="1186" actId="20577"/>
        <pc:sldMkLst>
          <pc:docMk/>
          <pc:sldMk cId="1840046561" sldId="2147480441"/>
        </pc:sldMkLst>
      </pc:sldChg>
      <pc:sldChg chg="add ord">
        <pc:chgData name="Damaraju, Phani" userId="5b2a6c30-fdf1-41b4-812d-91ce3c015cb9" providerId="ADAL" clId="{B6C26FFC-A7D4-478E-AEFB-B5A18497286D}" dt="2025-05-07T06:19:57.528" v="553"/>
        <pc:sldMkLst>
          <pc:docMk/>
          <pc:sldMk cId="3522413020" sldId="2147480442"/>
        </pc:sldMkLst>
      </pc:sldChg>
      <pc:sldChg chg="modSp add mod">
        <pc:chgData name="Damaraju, Phani" userId="5b2a6c30-fdf1-41b4-812d-91ce3c015cb9" providerId="ADAL" clId="{B6C26FFC-A7D4-478E-AEFB-B5A18497286D}" dt="2025-05-07T06:20:40.349" v="565" actId="20577"/>
        <pc:sldMkLst>
          <pc:docMk/>
          <pc:sldMk cId="4290248784" sldId="2147480443"/>
        </pc:sldMkLst>
        <pc:spChg chg="mod">
          <ac:chgData name="Damaraju, Phani" userId="5b2a6c30-fdf1-41b4-812d-91ce3c015cb9" providerId="ADAL" clId="{B6C26FFC-A7D4-478E-AEFB-B5A18497286D}" dt="2025-05-07T06:20:40.349" v="565" actId="20577"/>
          <ac:spMkLst>
            <pc:docMk/>
            <pc:sldMk cId="4290248784" sldId="2147480443"/>
            <ac:spMk id="7" creationId="{55DCB4CA-6F25-203E-7745-B00DD42A38C4}"/>
          </ac:spMkLst>
        </pc:spChg>
      </pc:sldChg>
      <pc:sldChg chg="modSp add mod">
        <pc:chgData name="Damaraju, Phani" userId="5b2a6c30-fdf1-41b4-812d-91ce3c015cb9" providerId="ADAL" clId="{B6C26FFC-A7D4-478E-AEFB-B5A18497286D}" dt="2025-05-07T06:24:17.700" v="943" actId="20577"/>
        <pc:sldMkLst>
          <pc:docMk/>
          <pc:sldMk cId="1346666615" sldId="2147480444"/>
        </pc:sldMkLst>
        <pc:spChg chg="mod">
          <ac:chgData name="Damaraju, Phani" userId="5b2a6c30-fdf1-41b4-812d-91ce3c015cb9" providerId="ADAL" clId="{B6C26FFC-A7D4-478E-AEFB-B5A18497286D}" dt="2025-05-07T06:24:17.700" v="943" actId="20577"/>
          <ac:spMkLst>
            <pc:docMk/>
            <pc:sldMk cId="1346666615" sldId="2147480444"/>
            <ac:spMk id="4" creationId="{EF7C0EE6-33BF-6D3D-107D-B73F925C8723}"/>
          </ac:spMkLst>
        </pc:spChg>
        <pc:spChg chg="mod">
          <ac:chgData name="Damaraju, Phani" userId="5b2a6c30-fdf1-41b4-812d-91ce3c015cb9" providerId="ADAL" clId="{B6C26FFC-A7D4-478E-AEFB-B5A18497286D}" dt="2025-05-07T06:22:50.389" v="754" actId="20577"/>
          <ac:spMkLst>
            <pc:docMk/>
            <pc:sldMk cId="1346666615" sldId="2147480444"/>
            <ac:spMk id="5" creationId="{03DBFA8B-96C1-4BF4-FB59-985D561993D0}"/>
          </ac:spMkLst>
        </pc:spChg>
        <pc:spChg chg="mod">
          <ac:chgData name="Damaraju, Phani" userId="5b2a6c30-fdf1-41b4-812d-91ce3c015cb9" providerId="ADAL" clId="{B6C26FFC-A7D4-478E-AEFB-B5A18497286D}" dt="2025-05-07T06:23:07.208" v="789" actId="20577"/>
          <ac:spMkLst>
            <pc:docMk/>
            <pc:sldMk cId="1346666615" sldId="2147480444"/>
            <ac:spMk id="6" creationId="{09AFF085-F678-7CD3-4A7D-1BBD1D48C929}"/>
          </ac:spMkLst>
        </pc:spChg>
      </pc:sldChg>
      <pc:sldChg chg="modSp add mod">
        <pc:chgData name="Damaraju, Phani" userId="5b2a6c30-fdf1-41b4-812d-91ce3c015cb9" providerId="ADAL" clId="{B6C26FFC-A7D4-478E-AEFB-B5A18497286D}" dt="2025-05-07T06:23:20.955" v="816" actId="20577"/>
        <pc:sldMkLst>
          <pc:docMk/>
          <pc:sldMk cId="1359372748" sldId="2147480445"/>
        </pc:sldMkLst>
        <pc:spChg chg="mod">
          <ac:chgData name="Damaraju, Phani" userId="5b2a6c30-fdf1-41b4-812d-91ce3c015cb9" providerId="ADAL" clId="{B6C26FFC-A7D4-478E-AEFB-B5A18497286D}" dt="2025-05-07T06:23:20.955" v="816" actId="20577"/>
          <ac:spMkLst>
            <pc:docMk/>
            <pc:sldMk cId="1359372748" sldId="2147480445"/>
            <ac:spMk id="7" creationId="{1D809B44-AED0-7C23-95A4-C4EA90F9A042}"/>
          </ac:spMkLst>
        </pc:spChg>
      </pc:sldChg>
      <pc:sldChg chg="addSp delSp modSp add mod">
        <pc:chgData name="Damaraju, Phani" userId="5b2a6c30-fdf1-41b4-812d-91ce3c015cb9" providerId="ADAL" clId="{B6C26FFC-A7D4-478E-AEFB-B5A18497286D}" dt="2025-05-07T06:25:27.009" v="1036" actId="20577"/>
        <pc:sldMkLst>
          <pc:docMk/>
          <pc:sldMk cId="3313104319" sldId="2147480446"/>
        </pc:sldMkLst>
        <pc:spChg chg="mod">
          <ac:chgData name="Damaraju, Phani" userId="5b2a6c30-fdf1-41b4-812d-91ce3c015cb9" providerId="ADAL" clId="{B6C26FFC-A7D4-478E-AEFB-B5A18497286D}" dt="2025-05-07T06:23:47.284" v="896" actId="20577"/>
          <ac:spMkLst>
            <pc:docMk/>
            <pc:sldMk cId="3313104319" sldId="2147480446"/>
            <ac:spMk id="6" creationId="{B0DEFB91-FB0A-690E-D8EF-FA10FED2B905}"/>
          </ac:spMkLst>
        </pc:spChg>
        <pc:spChg chg="add mod">
          <ac:chgData name="Damaraju, Phani" userId="5b2a6c30-fdf1-41b4-812d-91ce3c015cb9" providerId="ADAL" clId="{B6C26FFC-A7D4-478E-AEFB-B5A18497286D}" dt="2025-05-07T06:25:27.009" v="1036" actId="20577"/>
          <ac:spMkLst>
            <pc:docMk/>
            <pc:sldMk cId="3313104319" sldId="2147480446"/>
            <ac:spMk id="7" creationId="{56B1BEA1-CCBC-DF31-30B5-448015956424}"/>
          </ac:spMkLst>
        </pc:spChg>
        <pc:spChg chg="mod">
          <ac:chgData name="Damaraju, Phani" userId="5b2a6c30-fdf1-41b4-812d-91ce3c015cb9" providerId="ADAL" clId="{B6C26FFC-A7D4-478E-AEFB-B5A18497286D}" dt="2025-05-07T06:24:03.232" v="909" actId="20577"/>
          <ac:spMkLst>
            <pc:docMk/>
            <pc:sldMk cId="3313104319" sldId="2147480446"/>
            <ac:spMk id="9" creationId="{F2A300F8-E791-767F-ADA9-9D9FC7B910F6}"/>
          </ac:spMkLst>
        </pc:spChg>
      </pc:sldChg>
      <pc:sldChg chg="modSp add mod">
        <pc:chgData name="Damaraju, Phani" userId="5b2a6c30-fdf1-41b4-812d-91ce3c015cb9" providerId="ADAL" clId="{B6C26FFC-A7D4-478E-AEFB-B5A18497286D}" dt="2025-05-07T06:26:18.653" v="1058" actId="20577"/>
        <pc:sldMkLst>
          <pc:docMk/>
          <pc:sldMk cId="2873605452" sldId="2147480447"/>
        </pc:sldMkLst>
        <pc:spChg chg="mod">
          <ac:chgData name="Damaraju, Phani" userId="5b2a6c30-fdf1-41b4-812d-91ce3c015cb9" providerId="ADAL" clId="{B6C26FFC-A7D4-478E-AEFB-B5A18497286D}" dt="2025-05-07T06:26:18.653" v="1058" actId="20577"/>
          <ac:spMkLst>
            <pc:docMk/>
            <pc:sldMk cId="2873605452" sldId="2147480447"/>
            <ac:spMk id="7" creationId="{A03BCB19-D401-0721-6B75-23E28A60B834}"/>
          </ac:spMkLst>
        </pc:spChg>
      </pc:sldChg>
      <pc:sldChg chg="modSp add mod">
        <pc:chgData name="Damaraju, Phani" userId="5b2a6c30-fdf1-41b4-812d-91ce3c015cb9" providerId="ADAL" clId="{B6C26FFC-A7D4-478E-AEFB-B5A18497286D}" dt="2025-05-07T06:27:12.684" v="1173" actId="20577"/>
        <pc:sldMkLst>
          <pc:docMk/>
          <pc:sldMk cId="2132185508" sldId="2147480448"/>
        </pc:sldMkLst>
        <pc:spChg chg="mod">
          <ac:chgData name="Damaraju, Phani" userId="5b2a6c30-fdf1-41b4-812d-91ce3c015cb9" providerId="ADAL" clId="{B6C26FFC-A7D4-478E-AEFB-B5A18497286D}" dt="2025-05-07T06:26:30.063" v="1085" actId="20577"/>
          <ac:spMkLst>
            <pc:docMk/>
            <pc:sldMk cId="2132185508" sldId="2147480448"/>
            <ac:spMk id="6" creationId="{BDBED97B-A409-D0FD-76A6-302E68663F8E}"/>
          </ac:spMkLst>
        </pc:spChg>
        <pc:spChg chg="mod">
          <ac:chgData name="Damaraju, Phani" userId="5b2a6c30-fdf1-41b4-812d-91ce3c015cb9" providerId="ADAL" clId="{B6C26FFC-A7D4-478E-AEFB-B5A18497286D}" dt="2025-05-07T06:26:39.370" v="1108" actId="20577"/>
          <ac:spMkLst>
            <pc:docMk/>
            <pc:sldMk cId="2132185508" sldId="2147480448"/>
            <ac:spMk id="7" creationId="{098DBF56-5944-E424-7DB9-8B3FFA4AFE0B}"/>
          </ac:spMkLst>
        </pc:spChg>
        <pc:spChg chg="mod">
          <ac:chgData name="Damaraju, Phani" userId="5b2a6c30-fdf1-41b4-812d-91ce3c015cb9" providerId="ADAL" clId="{B6C26FFC-A7D4-478E-AEFB-B5A18497286D}" dt="2025-05-07T06:27:12.684" v="1173" actId="20577"/>
          <ac:spMkLst>
            <pc:docMk/>
            <pc:sldMk cId="2132185508" sldId="2147480448"/>
            <ac:spMk id="9" creationId="{3E3964CD-6B0F-7912-F408-D999DB2C1FAA}"/>
          </ac:spMkLst>
        </pc:spChg>
      </pc:sldChg>
      <pc:sldChg chg="add">
        <pc:chgData name="Damaraju, Phani" userId="5b2a6c30-fdf1-41b4-812d-91ce3c015cb9" providerId="ADAL" clId="{B6C26FFC-A7D4-478E-AEFB-B5A18497286D}" dt="2025-05-07T07:24:59.437" v="1182"/>
        <pc:sldMkLst>
          <pc:docMk/>
          <pc:sldMk cId="3943323305" sldId="2147480451"/>
        </pc:sldMkLst>
      </pc:sldChg>
      <pc:sldChg chg="modSp mod">
        <pc:chgData name="Damaraju, Phani" userId="5b2a6c30-fdf1-41b4-812d-91ce3c015cb9" providerId="ADAL" clId="{B6C26FFC-A7D4-478E-AEFB-B5A18497286D}" dt="2025-05-07T14:02:06.511" v="1187" actId="20577"/>
        <pc:sldMkLst>
          <pc:docMk/>
          <pc:sldMk cId="258167040" sldId="2147480453"/>
        </pc:sldMkLst>
        <pc:spChg chg="mod">
          <ac:chgData name="Damaraju, Phani" userId="5b2a6c30-fdf1-41b4-812d-91ce3c015cb9" providerId="ADAL" clId="{B6C26FFC-A7D4-478E-AEFB-B5A18497286D}" dt="2025-05-07T14:02:06.511" v="1187" actId="20577"/>
          <ac:spMkLst>
            <pc:docMk/>
            <pc:sldMk cId="258167040" sldId="2147480453"/>
            <ac:spMk id="6" creationId="{C7AB02ED-6B99-D130-88DA-D3AE5E8812C4}"/>
          </ac:spMkLst>
        </pc:spChg>
      </pc:sldChg>
    </pc:docChg>
  </pc:docChgLst>
  <pc:docChgLst>
    <pc:chgData name="Kumar, Rajnish" userId="S::rajnkumar@deloitte.com::dcd8116d-7ee8-4dbf-8f56-038c2219e7ba" providerId="AD" clId="Web-{CBFAB3CE-C026-4864-912A-2AC05E2B1271}"/>
    <pc:docChg chg="modSld">
      <pc:chgData name="Kumar, Rajnish" userId="S::rajnkumar@deloitte.com::dcd8116d-7ee8-4dbf-8f56-038c2219e7ba" providerId="AD" clId="Web-{CBFAB3CE-C026-4864-912A-2AC05E2B1271}" dt="2025-06-08T15:48:51.467" v="1" actId="20577"/>
      <pc:docMkLst>
        <pc:docMk/>
      </pc:docMkLst>
      <pc:sldChg chg="modSp">
        <pc:chgData name="Kumar, Rajnish" userId="S::rajnkumar@deloitte.com::dcd8116d-7ee8-4dbf-8f56-038c2219e7ba" providerId="AD" clId="Web-{CBFAB3CE-C026-4864-912A-2AC05E2B1271}" dt="2025-06-08T15:48:51.467" v="1" actId="20577"/>
        <pc:sldMkLst>
          <pc:docMk/>
          <pc:sldMk cId="3624343574" sldId="2147480504"/>
        </pc:sldMkLst>
        <pc:spChg chg="mod">
          <ac:chgData name="Kumar, Rajnish" userId="S::rajnkumar@deloitte.com::dcd8116d-7ee8-4dbf-8f56-038c2219e7ba" providerId="AD" clId="Web-{CBFAB3CE-C026-4864-912A-2AC05E2B1271}" dt="2025-06-08T15:48:51.467" v="1" actId="20577"/>
          <ac:spMkLst>
            <pc:docMk/>
            <pc:sldMk cId="3624343574" sldId="2147480504"/>
            <ac:spMk id="5" creationId="{99E93B1F-50DD-B712-0191-676920827F20}"/>
          </ac:spMkLst>
        </pc:spChg>
      </pc:sldChg>
    </pc:docChg>
  </pc:docChgLst>
  <pc:docChgLst>
    <pc:chgData name="bajjuri, uday" userId="S::buday@deloitte.com::025fb0ba-a4ce-4a23-96ae-073505eee83b" providerId="AD" clId="Web-{3B641821-C839-EA14-6B24-522912ABAAA6}"/>
    <pc:docChg chg="modSld">
      <pc:chgData name="bajjuri, uday" userId="S::buday@deloitte.com::025fb0ba-a4ce-4a23-96ae-073505eee83b" providerId="AD" clId="Web-{3B641821-C839-EA14-6B24-522912ABAAA6}" dt="2025-06-13T07:21:47.803" v="1026"/>
      <pc:docMkLst>
        <pc:docMk/>
      </pc:docMkLst>
      <pc:sldChg chg="modSp">
        <pc:chgData name="bajjuri, uday" userId="S::buday@deloitte.com::025fb0ba-a4ce-4a23-96ae-073505eee83b" providerId="AD" clId="Web-{3B641821-C839-EA14-6B24-522912ABAAA6}" dt="2025-06-13T06:57:11.261" v="587" actId="20577"/>
        <pc:sldMkLst>
          <pc:docMk/>
          <pc:sldMk cId="546545660" sldId="2147480469"/>
        </pc:sldMkLst>
        <pc:spChg chg="mod">
          <ac:chgData name="bajjuri, uday" userId="S::buday@deloitte.com::025fb0ba-a4ce-4a23-96ae-073505eee83b" providerId="AD" clId="Web-{3B641821-C839-EA14-6B24-522912ABAAA6}" dt="2025-06-13T06:37:08.478" v="17" actId="20577"/>
          <ac:spMkLst>
            <pc:docMk/>
            <pc:sldMk cId="546545660" sldId="2147480469"/>
            <ac:spMk id="3" creationId="{0776A742-ED51-E6F5-3285-DC78BC764C31}"/>
          </ac:spMkLst>
        </pc:spChg>
        <pc:spChg chg="mod">
          <ac:chgData name="bajjuri, uday" userId="S::buday@deloitte.com::025fb0ba-a4ce-4a23-96ae-073505eee83b" providerId="AD" clId="Web-{3B641821-C839-EA14-6B24-522912ABAAA6}" dt="2025-06-13T06:55:08.055" v="446" actId="20577"/>
          <ac:spMkLst>
            <pc:docMk/>
            <pc:sldMk cId="546545660" sldId="2147480469"/>
            <ac:spMk id="5" creationId="{7646DAAB-53F2-FFD5-3673-0CE674219B3D}"/>
          </ac:spMkLst>
        </pc:spChg>
        <pc:spChg chg="mod">
          <ac:chgData name="bajjuri, uday" userId="S::buday@deloitte.com::025fb0ba-a4ce-4a23-96ae-073505eee83b" providerId="AD" clId="Web-{3B641821-C839-EA14-6B24-522912ABAAA6}" dt="2025-06-13T06:56:58.808" v="577" actId="20577"/>
          <ac:spMkLst>
            <pc:docMk/>
            <pc:sldMk cId="546545660" sldId="2147480469"/>
            <ac:spMk id="9" creationId="{836B00D9-77ED-78EB-1051-52BEA7CA2B7D}"/>
          </ac:spMkLst>
        </pc:spChg>
      </pc:sldChg>
      <pc:sldChg chg="delSp modSp">
        <pc:chgData name="bajjuri, uday" userId="S::buday@deloitte.com::025fb0ba-a4ce-4a23-96ae-073505eee83b" providerId="AD" clId="Web-{3B641821-C839-EA14-6B24-522912ABAAA6}" dt="2025-06-13T07:21:47.803" v="1026"/>
        <pc:sldMkLst>
          <pc:docMk/>
          <pc:sldMk cId="1879566691" sldId="2147480474"/>
        </pc:sldMkLst>
        <pc:spChg chg="mod">
          <ac:chgData name="bajjuri, uday" userId="S::buday@deloitte.com::025fb0ba-a4ce-4a23-96ae-073505eee83b" providerId="AD" clId="Web-{3B641821-C839-EA14-6B24-522912ABAAA6}" dt="2025-06-13T07:00:31.439" v="603" actId="20577"/>
          <ac:spMkLst>
            <pc:docMk/>
            <pc:sldMk cId="1879566691" sldId="2147480474"/>
            <ac:spMk id="3" creationId="{C4B887EA-151F-D325-ACD1-45068ADF0013}"/>
          </ac:spMkLst>
        </pc:spChg>
        <pc:spChg chg="mod">
          <ac:chgData name="bajjuri, uday" userId="S::buday@deloitte.com::025fb0ba-a4ce-4a23-96ae-073505eee83b" providerId="AD" clId="Web-{3B641821-C839-EA14-6B24-522912ABAAA6}" dt="2025-06-13T07:00:57.111" v="664" actId="20577"/>
          <ac:spMkLst>
            <pc:docMk/>
            <pc:sldMk cId="1879566691" sldId="2147480474"/>
            <ac:spMk id="8" creationId="{D24F1985-0186-1C88-4AAF-3803F859F18B}"/>
          </ac:spMkLst>
        </pc:spChg>
        <pc:spChg chg="mod">
          <ac:chgData name="bajjuri, uday" userId="S::buday@deloitte.com::025fb0ba-a4ce-4a23-96ae-073505eee83b" providerId="AD" clId="Web-{3B641821-C839-EA14-6B24-522912ABAAA6}" dt="2025-06-13T07:21:35.662" v="1016" actId="20577"/>
          <ac:spMkLst>
            <pc:docMk/>
            <pc:sldMk cId="1879566691" sldId="2147480474"/>
            <ac:spMk id="13" creationId="{A6265DBD-01A9-31DC-C0A0-29A0B07F4C32}"/>
          </ac:spMkLst>
        </pc:spChg>
      </pc:sldChg>
      <pc:sldChg chg="modSp">
        <pc:chgData name="bajjuri, uday" userId="S::buday@deloitte.com::025fb0ba-a4ce-4a23-96ae-073505eee83b" providerId="AD" clId="Web-{3B641821-C839-EA14-6B24-522912ABAAA6}" dt="2025-06-13T07:15:47.339" v="872" actId="20577"/>
        <pc:sldMkLst>
          <pc:docMk/>
          <pc:sldMk cId="3911481354" sldId="2147480476"/>
        </pc:sldMkLst>
        <pc:spChg chg="mod">
          <ac:chgData name="bajjuri, uday" userId="S::buday@deloitte.com::025fb0ba-a4ce-4a23-96ae-073505eee83b" providerId="AD" clId="Web-{3B641821-C839-EA14-6B24-522912ABAAA6}" dt="2025-06-13T07:15:47.339" v="872" actId="20577"/>
          <ac:spMkLst>
            <pc:docMk/>
            <pc:sldMk cId="3911481354" sldId="2147480476"/>
            <ac:spMk id="5" creationId="{EB98384B-807B-F35D-DB8D-C87C6334AC4F}"/>
          </ac:spMkLst>
        </pc:spChg>
        <pc:spChg chg="mod">
          <ac:chgData name="bajjuri, uday" userId="S::buday@deloitte.com::025fb0ba-a4ce-4a23-96ae-073505eee83b" providerId="AD" clId="Web-{3B641821-C839-EA14-6B24-522912ABAAA6}" dt="2025-06-13T07:12:13.771" v="693" actId="20577"/>
          <ac:spMkLst>
            <pc:docMk/>
            <pc:sldMk cId="3911481354" sldId="2147480476"/>
            <ac:spMk id="8" creationId="{1C61A9AE-0E2B-9784-1267-A66D9B315E35}"/>
          </ac:spMkLst>
        </pc:spChg>
        <pc:spChg chg="mod">
          <ac:chgData name="bajjuri, uday" userId="S::buday@deloitte.com::025fb0ba-a4ce-4a23-96ae-073505eee83b" providerId="AD" clId="Web-{3B641821-C839-EA14-6B24-522912ABAAA6}" dt="2025-06-13T07:15:42.214" v="860" actId="20577"/>
          <ac:spMkLst>
            <pc:docMk/>
            <pc:sldMk cId="3911481354" sldId="2147480476"/>
            <ac:spMk id="13" creationId="{FA4C76DD-C2B7-0F04-F119-FB4DD3AD1499}"/>
          </ac:spMkLst>
        </pc:spChg>
      </pc:sldChg>
    </pc:docChg>
  </pc:docChgLst>
  <pc:docChgLst>
    <pc:chgData name="Bhardwaj, Shailesh" userId="fcf391a9-9845-4ad1-9d7d-0e9b2b8d1504" providerId="ADAL" clId="{6AECA20F-D615-4981-B468-8D84C804D5C8}"/>
    <pc:docChg chg="undo custSel addSld delSld modSld sldOrd">
      <pc:chgData name="Bhardwaj, Shailesh" userId="fcf391a9-9845-4ad1-9d7d-0e9b2b8d1504" providerId="ADAL" clId="{6AECA20F-D615-4981-B468-8D84C804D5C8}" dt="2025-04-15T11:26:04.780" v="2165" actId="20577"/>
      <pc:docMkLst>
        <pc:docMk/>
      </pc:docMkLst>
      <pc:sldChg chg="addSp delSp modSp add mod">
        <pc:chgData name="Bhardwaj, Shailesh" userId="fcf391a9-9845-4ad1-9d7d-0e9b2b8d1504" providerId="ADAL" clId="{6AECA20F-D615-4981-B468-8D84C804D5C8}" dt="2025-04-15T11:17:41.829" v="2151" actId="20577"/>
        <pc:sldMkLst>
          <pc:docMk/>
          <pc:sldMk cId="1791843138" sldId="594"/>
        </pc:sldMkLst>
      </pc:sldChg>
      <pc:sldChg chg="add del ord">
        <pc:chgData name="Bhardwaj, Shailesh" userId="fcf391a9-9845-4ad1-9d7d-0e9b2b8d1504" providerId="ADAL" clId="{6AECA20F-D615-4981-B468-8D84C804D5C8}" dt="2025-04-14T13:12:29.637" v="1461" actId="47"/>
        <pc:sldMkLst>
          <pc:docMk/>
          <pc:sldMk cId="2879202880" sldId="599"/>
        </pc:sldMkLst>
      </pc:sldChg>
      <pc:sldChg chg="modSp add mod ord">
        <pc:chgData name="Bhardwaj, Shailesh" userId="fcf391a9-9845-4ad1-9d7d-0e9b2b8d1504" providerId="ADAL" clId="{6AECA20F-D615-4981-B468-8D84C804D5C8}" dt="2025-04-15T10:38:06.751" v="2023"/>
        <pc:sldMkLst>
          <pc:docMk/>
          <pc:sldMk cId="1867776749" sldId="1051"/>
        </pc:sldMkLst>
      </pc:sldChg>
      <pc:sldChg chg="addSp modSp add mod">
        <pc:chgData name="Bhardwaj, Shailesh" userId="fcf391a9-9845-4ad1-9d7d-0e9b2b8d1504" providerId="ADAL" clId="{6AECA20F-D615-4981-B468-8D84C804D5C8}" dt="2025-04-15T11:26:04.780" v="2165" actId="20577"/>
        <pc:sldMkLst>
          <pc:docMk/>
          <pc:sldMk cId="1326975581" sldId="1242"/>
        </pc:sldMkLst>
        <pc:spChg chg="add mod">
          <ac:chgData name="Bhardwaj, Shailesh" userId="fcf391a9-9845-4ad1-9d7d-0e9b2b8d1504" providerId="ADAL" clId="{6AECA20F-D615-4981-B468-8D84C804D5C8}" dt="2025-04-15T11:26:04.780" v="2165" actId="20577"/>
          <ac:spMkLst>
            <pc:docMk/>
            <pc:sldMk cId="1326975581" sldId="1242"/>
            <ac:spMk id="2" creationId="{BC88F86F-3F7F-2686-D552-4A292409C438}"/>
          </ac:spMkLst>
        </pc:spChg>
        <pc:spChg chg="add mod">
          <ac:chgData name="Bhardwaj, Shailesh" userId="fcf391a9-9845-4ad1-9d7d-0e9b2b8d1504" providerId="ADAL" clId="{6AECA20F-D615-4981-B468-8D84C804D5C8}" dt="2025-04-14T10:32:27.478" v="207" actId="6549"/>
          <ac:spMkLst>
            <pc:docMk/>
            <pc:sldMk cId="1326975581" sldId="1242"/>
            <ac:spMk id="3" creationId="{C34EE1C7-7022-E52F-3479-93FEA4F20104}"/>
          </ac:spMkLst>
        </pc:spChg>
      </pc:sldChg>
      <pc:sldChg chg="modSp add mod ord">
        <pc:chgData name="Bhardwaj, Shailesh" userId="fcf391a9-9845-4ad1-9d7d-0e9b2b8d1504" providerId="ADAL" clId="{6AECA20F-D615-4981-B468-8D84C804D5C8}" dt="2025-04-15T10:37:43.826" v="2021" actId="20577"/>
        <pc:sldMkLst>
          <pc:docMk/>
          <pc:sldMk cId="1506176342" sldId="1244"/>
        </pc:sldMkLst>
      </pc:sldChg>
      <pc:sldChg chg="modSp add mod ord">
        <pc:chgData name="Bhardwaj, Shailesh" userId="fcf391a9-9845-4ad1-9d7d-0e9b2b8d1504" providerId="ADAL" clId="{6AECA20F-D615-4981-B468-8D84C804D5C8}" dt="2025-04-15T10:35:10.338" v="1927" actId="207"/>
        <pc:sldMkLst>
          <pc:docMk/>
          <pc:sldMk cId="1010963659" sldId="1254"/>
        </pc:sldMkLst>
      </pc:sldChg>
      <pc:sldChg chg="delSp modSp add mod ord">
        <pc:chgData name="Bhardwaj, Shailesh" userId="fcf391a9-9845-4ad1-9d7d-0e9b2b8d1504" providerId="ADAL" clId="{6AECA20F-D615-4981-B468-8D84C804D5C8}" dt="2025-04-15T10:38:20.097" v="2045" actId="20577"/>
        <pc:sldMkLst>
          <pc:docMk/>
          <pc:sldMk cId="1555018371" sldId="2147480435"/>
        </pc:sldMkLst>
      </pc:sldChg>
      <pc:sldChg chg="add del">
        <pc:chgData name="Bhardwaj, Shailesh" userId="fcf391a9-9845-4ad1-9d7d-0e9b2b8d1504" providerId="ADAL" clId="{6AECA20F-D615-4981-B468-8D84C804D5C8}" dt="2025-04-14T10:24:15.354" v="34" actId="47"/>
        <pc:sldMkLst>
          <pc:docMk/>
          <pc:sldMk cId="2633160292" sldId="2147480436"/>
        </pc:sldMkLst>
      </pc:sldChg>
      <pc:sldChg chg="add ord">
        <pc:chgData name="Bhardwaj, Shailesh" userId="fcf391a9-9845-4ad1-9d7d-0e9b2b8d1504" providerId="ADAL" clId="{6AECA20F-D615-4981-B468-8D84C804D5C8}" dt="2025-04-14T10:24:19.422" v="37"/>
        <pc:sldMkLst>
          <pc:docMk/>
          <pc:sldMk cId="3110954754" sldId="2147480436"/>
        </pc:sldMkLst>
      </pc:sldChg>
      <pc:sldChg chg="add">
        <pc:chgData name="Bhardwaj, Shailesh" userId="fcf391a9-9845-4ad1-9d7d-0e9b2b8d1504" providerId="ADAL" clId="{6AECA20F-D615-4981-B468-8D84C804D5C8}" dt="2025-04-14T10:32:33.747" v="208" actId="2890"/>
        <pc:sldMkLst>
          <pc:docMk/>
          <pc:sldMk cId="2375485167" sldId="2147480437"/>
        </pc:sldMkLst>
      </pc:sldChg>
      <pc:sldChg chg="add ord">
        <pc:chgData name="Bhardwaj, Shailesh" userId="fcf391a9-9845-4ad1-9d7d-0e9b2b8d1504" providerId="ADAL" clId="{6AECA20F-D615-4981-B468-8D84C804D5C8}" dt="2025-04-15T10:33:44.001" v="1905"/>
        <pc:sldMkLst>
          <pc:docMk/>
          <pc:sldMk cId="1393634335" sldId="2147480438"/>
        </pc:sldMkLst>
      </pc:sldChg>
      <pc:sldChg chg="add ord">
        <pc:chgData name="Bhardwaj, Shailesh" userId="fcf391a9-9845-4ad1-9d7d-0e9b2b8d1504" providerId="ADAL" clId="{6AECA20F-D615-4981-B468-8D84C804D5C8}" dt="2025-04-15T07:54:32.521" v="1581"/>
        <pc:sldMkLst>
          <pc:docMk/>
          <pc:sldMk cId="3913187098" sldId="2147480439"/>
        </pc:sldMkLst>
      </pc:sldChg>
    </pc:docChg>
  </pc:docChgLst>
  <pc:docChgLst>
    <pc:chgData name="Tanna, Drashty" userId="S::drtanna@deloitte.com::2ebec2a7-57b3-4ec0-a50b-e21cea8033ef" providerId="AD" clId="Web-{CB54386C-016C-5448-3898-A7108D33772E}"/>
    <pc:docChg chg="modSld">
      <pc:chgData name="Tanna, Drashty" userId="S::drtanna@deloitte.com::2ebec2a7-57b3-4ec0-a50b-e21cea8033ef" providerId="AD" clId="Web-{CB54386C-016C-5448-3898-A7108D33772E}" dt="2025-06-07T12:52:54.153" v="128" actId="20577"/>
      <pc:docMkLst>
        <pc:docMk/>
      </pc:docMkLst>
      <pc:sldChg chg="modSp">
        <pc:chgData name="Tanna, Drashty" userId="S::drtanna@deloitte.com::2ebec2a7-57b3-4ec0-a50b-e21cea8033ef" providerId="AD" clId="Web-{CB54386C-016C-5448-3898-A7108D33772E}" dt="2025-06-07T12:52:54.153" v="128" actId="20577"/>
        <pc:sldMkLst>
          <pc:docMk/>
          <pc:sldMk cId="405523565" sldId="2147480494"/>
        </pc:sldMkLst>
        <pc:spChg chg="mod">
          <ac:chgData name="Tanna, Drashty" userId="S::drtanna@deloitte.com::2ebec2a7-57b3-4ec0-a50b-e21cea8033ef" providerId="AD" clId="Web-{CB54386C-016C-5448-3898-A7108D33772E}" dt="2025-06-07T12:52:54.153" v="128" actId="20577"/>
          <ac:spMkLst>
            <pc:docMk/>
            <pc:sldMk cId="405523565" sldId="2147480494"/>
            <ac:spMk id="5" creationId="{D1BAF33D-9D41-4B5E-0ADA-BFB3BD100E46}"/>
          </ac:spMkLst>
        </pc:spChg>
        <pc:spChg chg="mod">
          <ac:chgData name="Tanna, Drashty" userId="S::drtanna@deloitte.com::2ebec2a7-57b3-4ec0-a50b-e21cea8033ef" providerId="AD" clId="Web-{CB54386C-016C-5448-3898-A7108D33772E}" dt="2025-06-07T12:52:44.215" v="112" actId="20577"/>
          <ac:spMkLst>
            <pc:docMk/>
            <pc:sldMk cId="405523565" sldId="2147480494"/>
            <ac:spMk id="7" creationId="{C181EB7E-1ABA-D5B5-CC0E-58D442D46950}"/>
          </ac:spMkLst>
        </pc:spChg>
      </pc:sldChg>
      <pc:sldChg chg="modSp">
        <pc:chgData name="Tanna, Drashty" userId="S::drtanna@deloitte.com::2ebec2a7-57b3-4ec0-a50b-e21cea8033ef" providerId="AD" clId="Web-{CB54386C-016C-5448-3898-A7108D33772E}" dt="2025-06-07T12:40:57.155" v="4" actId="20577"/>
        <pc:sldMkLst>
          <pc:docMk/>
          <pc:sldMk cId="1297285323" sldId="2147480500"/>
        </pc:sldMkLst>
        <pc:spChg chg="mod">
          <ac:chgData name="Tanna, Drashty" userId="S::drtanna@deloitte.com::2ebec2a7-57b3-4ec0-a50b-e21cea8033ef" providerId="AD" clId="Web-{CB54386C-016C-5448-3898-A7108D33772E}" dt="2025-06-07T12:40:57.155" v="4" actId="20577"/>
          <ac:spMkLst>
            <pc:docMk/>
            <pc:sldMk cId="1297285323" sldId="2147480500"/>
            <ac:spMk id="7" creationId="{E4780445-9C7B-49A5-DDDA-E117111CB0A7}"/>
          </ac:spMkLst>
        </pc:spChg>
      </pc:sldChg>
    </pc:docChg>
  </pc:docChgLst>
  <pc:docChgLst>
    <pc:chgData name="Tanna, Drashty" userId="S::drtanna@deloitte.com::2ebec2a7-57b3-4ec0-a50b-e21cea8033ef" providerId="AD" clId="Web-{BFC29546-8AE8-AF0E-F934-FCABF4B523BA}"/>
    <pc:docChg chg="addSld delSld modSld modSection">
      <pc:chgData name="Tanna, Drashty" userId="S::drtanna@deloitte.com::2ebec2a7-57b3-4ec0-a50b-e21cea8033ef" providerId="AD" clId="Web-{BFC29546-8AE8-AF0E-F934-FCABF4B523BA}" dt="2025-06-06T22:38:36.238" v="440" actId="20577"/>
      <pc:docMkLst>
        <pc:docMk/>
      </pc:docMkLst>
      <pc:sldChg chg="addSp delSp modSp new del mod modClrScheme chgLayout">
        <pc:chgData name="Tanna, Drashty" userId="S::drtanna@deloitte.com::2ebec2a7-57b3-4ec0-a50b-e21cea8033ef" providerId="AD" clId="Web-{BFC29546-8AE8-AF0E-F934-FCABF4B523BA}" dt="2025-06-06T19:52:13.721" v="27"/>
        <pc:sldMkLst>
          <pc:docMk/>
          <pc:sldMk cId="234746617" sldId="2147480487"/>
        </pc:sldMkLst>
      </pc:sldChg>
      <pc:sldChg chg="addSp delSp modSp add replId">
        <pc:chgData name="Tanna, Drashty" userId="S::drtanna@deloitte.com::2ebec2a7-57b3-4ec0-a50b-e21cea8033ef" providerId="AD" clId="Web-{BFC29546-8AE8-AF0E-F934-FCABF4B523BA}" dt="2025-06-06T20:00:26.881" v="151" actId="20577"/>
        <pc:sldMkLst>
          <pc:docMk/>
          <pc:sldMk cId="2104941130" sldId="2147480489"/>
        </pc:sldMkLst>
        <pc:spChg chg="mod">
          <ac:chgData name="Tanna, Drashty" userId="S::drtanna@deloitte.com::2ebec2a7-57b3-4ec0-a50b-e21cea8033ef" providerId="AD" clId="Web-{BFC29546-8AE8-AF0E-F934-FCABF4B523BA}" dt="2025-06-06T19:53:40.599" v="44" actId="20577"/>
          <ac:spMkLst>
            <pc:docMk/>
            <pc:sldMk cId="2104941130" sldId="2147480489"/>
            <ac:spMk id="3" creationId="{1642488C-0578-9ED6-F533-D84B1771FC71}"/>
          </ac:spMkLst>
        </pc:spChg>
        <pc:spChg chg="mod">
          <ac:chgData name="Tanna, Drashty" userId="S::drtanna@deloitte.com::2ebec2a7-57b3-4ec0-a50b-e21cea8033ef" providerId="AD" clId="Web-{BFC29546-8AE8-AF0E-F934-FCABF4B523BA}" dt="2025-06-06T19:56:57.794" v="114" actId="20577"/>
          <ac:spMkLst>
            <pc:docMk/>
            <pc:sldMk cId="2104941130" sldId="2147480489"/>
            <ac:spMk id="4" creationId="{58AB0A2A-77B8-BC84-4811-6B0E7EEF8D3C}"/>
          </ac:spMkLst>
        </pc:spChg>
        <pc:spChg chg="add del mod">
          <ac:chgData name="Tanna, Drashty" userId="S::drtanna@deloitte.com::2ebec2a7-57b3-4ec0-a50b-e21cea8033ef" providerId="AD" clId="Web-{BFC29546-8AE8-AF0E-F934-FCABF4B523BA}" dt="2025-06-06T19:56:22.574" v="84" actId="14100"/>
          <ac:spMkLst>
            <pc:docMk/>
            <pc:sldMk cId="2104941130" sldId="2147480489"/>
            <ac:spMk id="5" creationId="{1B7D0112-1F19-8EC8-21F4-76E1908CF437}"/>
          </ac:spMkLst>
        </pc:spChg>
        <pc:spChg chg="mod">
          <ac:chgData name="Tanna, Drashty" userId="S::drtanna@deloitte.com::2ebec2a7-57b3-4ec0-a50b-e21cea8033ef" providerId="AD" clId="Web-{BFC29546-8AE8-AF0E-F934-FCABF4B523BA}" dt="2025-06-06T19:59:22.206" v="144" actId="14100"/>
          <ac:spMkLst>
            <pc:docMk/>
            <pc:sldMk cId="2104941130" sldId="2147480489"/>
            <ac:spMk id="6" creationId="{C00B5D7E-0BD3-B9BF-F972-55C1D9FE4700}"/>
          </ac:spMkLst>
        </pc:spChg>
        <pc:spChg chg="mod">
          <ac:chgData name="Tanna, Drashty" userId="S::drtanna@deloitte.com::2ebec2a7-57b3-4ec0-a50b-e21cea8033ef" providerId="AD" clId="Web-{BFC29546-8AE8-AF0E-F934-FCABF4B523BA}" dt="2025-06-06T20:00:26.881" v="151" actId="20577"/>
          <ac:spMkLst>
            <pc:docMk/>
            <pc:sldMk cId="2104941130" sldId="2147480489"/>
            <ac:spMk id="7" creationId="{A34F4918-B4ED-022D-0A89-E21C0F2620F1}"/>
          </ac:spMkLst>
        </pc:spChg>
        <pc:spChg chg="mod">
          <ac:chgData name="Tanna, Drashty" userId="S::drtanna@deloitte.com::2ebec2a7-57b3-4ec0-a50b-e21cea8033ef" providerId="AD" clId="Web-{BFC29546-8AE8-AF0E-F934-FCABF4B523BA}" dt="2025-06-06T19:53:14.020" v="39" actId="1076"/>
          <ac:spMkLst>
            <pc:docMk/>
            <pc:sldMk cId="2104941130" sldId="2147480489"/>
            <ac:spMk id="8" creationId="{C9B7060E-6D97-AAE7-4C5A-D78BEA5129F6}"/>
          </ac:spMkLst>
        </pc:spChg>
        <pc:spChg chg="add mod">
          <ac:chgData name="Tanna, Drashty" userId="S::drtanna@deloitte.com::2ebec2a7-57b3-4ec0-a50b-e21cea8033ef" providerId="AD" clId="Web-{BFC29546-8AE8-AF0E-F934-FCABF4B523BA}" dt="2025-06-06T19:57:35.233" v="133" actId="14100"/>
          <ac:spMkLst>
            <pc:docMk/>
            <pc:sldMk cId="2104941130" sldId="2147480489"/>
            <ac:spMk id="13" creationId="{15487589-3546-BF50-53EB-71F70E72F85C}"/>
          </ac:spMkLst>
        </pc:spChg>
      </pc:sldChg>
      <pc:sldChg chg="addSp delSp modSp add replId">
        <pc:chgData name="Tanna, Drashty" userId="S::drtanna@deloitte.com::2ebec2a7-57b3-4ec0-a50b-e21cea8033ef" providerId="AD" clId="Web-{BFC29546-8AE8-AF0E-F934-FCABF4B523BA}" dt="2025-06-06T21:18:22.324" v="296"/>
        <pc:sldMkLst>
          <pc:docMk/>
          <pc:sldMk cId="3046689714" sldId="2147480492"/>
        </pc:sldMkLst>
        <pc:spChg chg="mod">
          <ac:chgData name="Tanna, Drashty" userId="S::drtanna@deloitte.com::2ebec2a7-57b3-4ec0-a50b-e21cea8033ef" providerId="AD" clId="Web-{BFC29546-8AE8-AF0E-F934-FCABF4B523BA}" dt="2025-06-06T20:42:59.582" v="171" actId="20577"/>
          <ac:spMkLst>
            <pc:docMk/>
            <pc:sldMk cId="3046689714" sldId="2147480492"/>
            <ac:spMk id="3" creationId="{E3FBB63F-65C3-6899-5BAD-C9FCC66B1697}"/>
          </ac:spMkLst>
        </pc:spChg>
        <pc:spChg chg="mod">
          <ac:chgData name="Tanna, Drashty" userId="S::drtanna@deloitte.com::2ebec2a7-57b3-4ec0-a50b-e21cea8033ef" providerId="AD" clId="Web-{BFC29546-8AE8-AF0E-F934-FCABF4B523BA}" dt="2025-06-06T21:18:14.355" v="293" actId="20577"/>
          <ac:spMkLst>
            <pc:docMk/>
            <pc:sldMk cId="3046689714" sldId="2147480492"/>
            <ac:spMk id="4" creationId="{571419BE-6D94-D571-06CE-573912E40665}"/>
          </ac:spMkLst>
        </pc:spChg>
        <pc:spChg chg="mod">
          <ac:chgData name="Tanna, Drashty" userId="S::drtanna@deloitte.com::2ebec2a7-57b3-4ec0-a50b-e21cea8033ef" providerId="AD" clId="Web-{BFC29546-8AE8-AF0E-F934-FCABF4B523BA}" dt="2025-06-06T20:52:02.647" v="255" actId="20577"/>
          <ac:spMkLst>
            <pc:docMk/>
            <pc:sldMk cId="3046689714" sldId="2147480492"/>
            <ac:spMk id="5" creationId="{AEE292BC-958C-5BA4-F76F-B5337B9AFCEA}"/>
          </ac:spMkLst>
        </pc:spChg>
        <pc:spChg chg="mod">
          <ac:chgData name="Tanna, Drashty" userId="S::drtanna@deloitte.com::2ebec2a7-57b3-4ec0-a50b-e21cea8033ef" providerId="AD" clId="Web-{BFC29546-8AE8-AF0E-F934-FCABF4B523BA}" dt="2025-06-06T20:46:39.840" v="207" actId="1076"/>
          <ac:spMkLst>
            <pc:docMk/>
            <pc:sldMk cId="3046689714" sldId="2147480492"/>
            <ac:spMk id="6" creationId="{716851AD-ADCD-0B6A-2FCA-EFD3A86178DA}"/>
          </ac:spMkLst>
        </pc:spChg>
        <pc:spChg chg="mod">
          <ac:chgData name="Tanna, Drashty" userId="S::drtanna@deloitte.com::2ebec2a7-57b3-4ec0-a50b-e21cea8033ef" providerId="AD" clId="Web-{BFC29546-8AE8-AF0E-F934-FCABF4B523BA}" dt="2025-06-06T21:18:12.449" v="290" actId="20577"/>
          <ac:spMkLst>
            <pc:docMk/>
            <pc:sldMk cId="3046689714" sldId="2147480492"/>
            <ac:spMk id="7" creationId="{EE3D0ECA-40AB-6DAB-27DA-316DD7A9F02D}"/>
          </ac:spMkLst>
        </pc:spChg>
        <pc:spChg chg="mod">
          <ac:chgData name="Tanna, Drashty" userId="S::drtanna@deloitte.com::2ebec2a7-57b3-4ec0-a50b-e21cea8033ef" providerId="AD" clId="Web-{BFC29546-8AE8-AF0E-F934-FCABF4B523BA}" dt="2025-06-06T20:43:41.849" v="173" actId="20577"/>
          <ac:spMkLst>
            <pc:docMk/>
            <pc:sldMk cId="3046689714" sldId="2147480492"/>
            <ac:spMk id="8" creationId="{D665EE75-0427-E4B1-0ED5-1AE7A6FDF455}"/>
          </ac:spMkLst>
        </pc:spChg>
      </pc:sldChg>
      <pc:sldChg chg="modSp add replId">
        <pc:chgData name="Tanna, Drashty" userId="S::drtanna@deloitte.com::2ebec2a7-57b3-4ec0-a50b-e21cea8033ef" providerId="AD" clId="Web-{BFC29546-8AE8-AF0E-F934-FCABF4B523BA}" dt="2025-06-06T21:39:47.710" v="345" actId="20577"/>
        <pc:sldMkLst>
          <pc:docMk/>
          <pc:sldMk cId="1760046505" sldId="2147480493"/>
        </pc:sldMkLst>
        <pc:spChg chg="mod">
          <ac:chgData name="Tanna, Drashty" userId="S::drtanna@deloitte.com::2ebec2a7-57b3-4ec0-a50b-e21cea8033ef" providerId="AD" clId="Web-{BFC29546-8AE8-AF0E-F934-FCABF4B523BA}" dt="2025-06-06T21:39:47.710" v="345" actId="20577"/>
          <ac:spMkLst>
            <pc:docMk/>
            <pc:sldMk cId="1760046505" sldId="2147480493"/>
            <ac:spMk id="3" creationId="{B8514A5B-F946-8838-73D7-B4B08518B491}"/>
          </ac:spMkLst>
        </pc:spChg>
        <pc:spChg chg="mod">
          <ac:chgData name="Tanna, Drashty" userId="S::drtanna@deloitte.com::2ebec2a7-57b3-4ec0-a50b-e21cea8033ef" providerId="AD" clId="Web-{BFC29546-8AE8-AF0E-F934-FCABF4B523BA}" dt="2025-06-06T21:30:52.115" v="323" actId="20577"/>
          <ac:spMkLst>
            <pc:docMk/>
            <pc:sldMk cId="1760046505" sldId="2147480493"/>
            <ac:spMk id="4" creationId="{23C7FCA4-B11C-740A-4700-BB8DB0949F6E}"/>
          </ac:spMkLst>
        </pc:spChg>
        <pc:spChg chg="mod">
          <ac:chgData name="Tanna, Drashty" userId="S::drtanna@deloitte.com::2ebec2a7-57b3-4ec0-a50b-e21cea8033ef" providerId="AD" clId="Web-{BFC29546-8AE8-AF0E-F934-FCABF4B523BA}" dt="2025-06-06T21:33:08.119" v="337" actId="20577"/>
          <ac:spMkLst>
            <pc:docMk/>
            <pc:sldMk cId="1760046505" sldId="2147480493"/>
            <ac:spMk id="5" creationId="{40FC205E-10D9-23EE-78A1-354ED5216020}"/>
          </ac:spMkLst>
        </pc:spChg>
        <pc:spChg chg="mod">
          <ac:chgData name="Tanna, Drashty" userId="S::drtanna@deloitte.com::2ebec2a7-57b3-4ec0-a50b-e21cea8033ef" providerId="AD" clId="Web-{BFC29546-8AE8-AF0E-F934-FCABF4B523BA}" dt="2025-06-06T21:33:22.682" v="341" actId="20577"/>
          <ac:spMkLst>
            <pc:docMk/>
            <pc:sldMk cId="1760046505" sldId="2147480493"/>
            <ac:spMk id="7" creationId="{6F4AC9B1-42E7-A3C9-A9D3-43C6344250B0}"/>
          </ac:spMkLst>
        </pc:spChg>
        <pc:spChg chg="mod">
          <ac:chgData name="Tanna, Drashty" userId="S::drtanna@deloitte.com::2ebec2a7-57b3-4ec0-a50b-e21cea8033ef" providerId="AD" clId="Web-{BFC29546-8AE8-AF0E-F934-FCABF4B523BA}" dt="2025-06-06T21:29:18.705" v="320" actId="1076"/>
          <ac:spMkLst>
            <pc:docMk/>
            <pc:sldMk cId="1760046505" sldId="2147480493"/>
            <ac:spMk id="8" creationId="{39F828F4-0192-70B1-A2D2-28F5E21D77F3}"/>
          </ac:spMkLst>
        </pc:spChg>
        <pc:spChg chg="mod">
          <ac:chgData name="Tanna, Drashty" userId="S::drtanna@deloitte.com::2ebec2a7-57b3-4ec0-a50b-e21cea8033ef" providerId="AD" clId="Web-{BFC29546-8AE8-AF0E-F934-FCABF4B523BA}" dt="2025-06-06T21:18:57.404" v="299" actId="20577"/>
          <ac:spMkLst>
            <pc:docMk/>
            <pc:sldMk cId="1760046505" sldId="2147480493"/>
            <ac:spMk id="13" creationId="{FBF32544-6625-E681-7C9E-470FB19D33AA}"/>
          </ac:spMkLst>
        </pc:spChg>
      </pc:sldChg>
      <pc:sldChg chg="modSp add replId">
        <pc:chgData name="Tanna, Drashty" userId="S::drtanna@deloitte.com::2ebec2a7-57b3-4ec0-a50b-e21cea8033ef" providerId="AD" clId="Web-{BFC29546-8AE8-AF0E-F934-FCABF4B523BA}" dt="2025-06-06T22:07:59.713" v="374" actId="1076"/>
        <pc:sldMkLst>
          <pc:docMk/>
          <pc:sldMk cId="405523565" sldId="2147480494"/>
        </pc:sldMkLst>
        <pc:spChg chg="mod">
          <ac:chgData name="Tanna, Drashty" userId="S::drtanna@deloitte.com::2ebec2a7-57b3-4ec0-a50b-e21cea8033ef" providerId="AD" clId="Web-{BFC29546-8AE8-AF0E-F934-FCABF4B523BA}" dt="2025-06-06T22:05:15.312" v="356" actId="20577"/>
          <ac:spMkLst>
            <pc:docMk/>
            <pc:sldMk cId="405523565" sldId="2147480494"/>
            <ac:spMk id="3" creationId="{C64D82A7-59BE-E43C-DD9B-7FB02FB45898}"/>
          </ac:spMkLst>
        </pc:spChg>
        <pc:spChg chg="mod">
          <ac:chgData name="Tanna, Drashty" userId="S::drtanna@deloitte.com::2ebec2a7-57b3-4ec0-a50b-e21cea8033ef" providerId="AD" clId="Web-{BFC29546-8AE8-AF0E-F934-FCABF4B523BA}" dt="2025-06-06T22:07:59.713" v="374" actId="1076"/>
          <ac:spMkLst>
            <pc:docMk/>
            <pc:sldMk cId="405523565" sldId="2147480494"/>
            <ac:spMk id="4" creationId="{EEE80C05-09C5-EFF5-530A-F6E9FE62F3D1}"/>
          </ac:spMkLst>
        </pc:spChg>
        <pc:spChg chg="mod">
          <ac:chgData name="Tanna, Drashty" userId="S::drtanna@deloitte.com::2ebec2a7-57b3-4ec0-a50b-e21cea8033ef" providerId="AD" clId="Web-{BFC29546-8AE8-AF0E-F934-FCABF4B523BA}" dt="2025-06-06T22:07:53.400" v="373" actId="1076"/>
          <ac:spMkLst>
            <pc:docMk/>
            <pc:sldMk cId="405523565" sldId="2147480494"/>
            <ac:spMk id="5" creationId="{D1BAF33D-9D41-4B5E-0ADA-BFB3BD100E46}"/>
          </ac:spMkLst>
        </pc:spChg>
        <pc:spChg chg="mod">
          <ac:chgData name="Tanna, Drashty" userId="S::drtanna@deloitte.com::2ebec2a7-57b3-4ec0-a50b-e21cea8033ef" providerId="AD" clId="Web-{BFC29546-8AE8-AF0E-F934-FCABF4B523BA}" dt="2025-06-06T22:06:33.770" v="367" actId="20577"/>
          <ac:spMkLst>
            <pc:docMk/>
            <pc:sldMk cId="405523565" sldId="2147480494"/>
            <ac:spMk id="6" creationId="{49CC7E9D-D027-D517-8041-B60B7A6D5CB8}"/>
          </ac:spMkLst>
        </pc:spChg>
        <pc:spChg chg="mod">
          <ac:chgData name="Tanna, Drashty" userId="S::drtanna@deloitte.com::2ebec2a7-57b3-4ec0-a50b-e21cea8033ef" providerId="AD" clId="Web-{BFC29546-8AE8-AF0E-F934-FCABF4B523BA}" dt="2025-06-06T22:07:38.883" v="371" actId="20577"/>
          <ac:spMkLst>
            <pc:docMk/>
            <pc:sldMk cId="405523565" sldId="2147480494"/>
            <ac:spMk id="7" creationId="{C181EB7E-1ABA-D5B5-CC0E-58D442D46950}"/>
          </ac:spMkLst>
        </pc:spChg>
        <pc:spChg chg="mod">
          <ac:chgData name="Tanna, Drashty" userId="S::drtanna@deloitte.com::2ebec2a7-57b3-4ec0-a50b-e21cea8033ef" providerId="AD" clId="Web-{BFC29546-8AE8-AF0E-F934-FCABF4B523BA}" dt="2025-06-06T22:05:41.360" v="358" actId="20577"/>
          <ac:spMkLst>
            <pc:docMk/>
            <pc:sldMk cId="405523565" sldId="2147480494"/>
            <ac:spMk id="8" creationId="{2152375C-1EFF-A408-6B9C-1B355D42FCF2}"/>
          </ac:spMkLst>
        </pc:spChg>
      </pc:sldChg>
      <pc:sldChg chg="modSp add replId">
        <pc:chgData name="Tanna, Drashty" userId="S::drtanna@deloitte.com::2ebec2a7-57b3-4ec0-a50b-e21cea8033ef" providerId="AD" clId="Web-{BFC29546-8AE8-AF0E-F934-FCABF4B523BA}" dt="2025-06-06T22:38:36.238" v="440" actId="20577"/>
        <pc:sldMkLst>
          <pc:docMk/>
          <pc:sldMk cId="4194400554" sldId="2147480495"/>
        </pc:sldMkLst>
        <pc:spChg chg="mod">
          <ac:chgData name="Tanna, Drashty" userId="S::drtanna@deloitte.com::2ebec2a7-57b3-4ec0-a50b-e21cea8033ef" providerId="AD" clId="Web-{BFC29546-8AE8-AF0E-F934-FCABF4B523BA}" dt="2025-06-06T22:34:12.564" v="383" actId="20577"/>
          <ac:spMkLst>
            <pc:docMk/>
            <pc:sldMk cId="4194400554" sldId="2147480495"/>
            <ac:spMk id="3" creationId="{339FF1DA-0882-0758-E733-1CDF536B3330}"/>
          </ac:spMkLst>
        </pc:spChg>
        <pc:spChg chg="mod">
          <ac:chgData name="Tanna, Drashty" userId="S::drtanna@deloitte.com::2ebec2a7-57b3-4ec0-a50b-e21cea8033ef" providerId="AD" clId="Web-{BFC29546-8AE8-AF0E-F934-FCABF4B523BA}" dt="2025-06-06T22:38:36.238" v="440" actId="20577"/>
          <ac:spMkLst>
            <pc:docMk/>
            <pc:sldMk cId="4194400554" sldId="2147480495"/>
            <ac:spMk id="5" creationId="{97734820-2295-F988-D39C-E63677E65635}"/>
          </ac:spMkLst>
        </pc:spChg>
        <pc:spChg chg="mod">
          <ac:chgData name="Tanna, Drashty" userId="S::drtanna@deloitte.com::2ebec2a7-57b3-4ec0-a50b-e21cea8033ef" providerId="AD" clId="Web-{BFC29546-8AE8-AF0E-F934-FCABF4B523BA}" dt="2025-06-06T22:36:38.839" v="410" actId="20577"/>
          <ac:spMkLst>
            <pc:docMk/>
            <pc:sldMk cId="4194400554" sldId="2147480495"/>
            <ac:spMk id="6" creationId="{6CA965D5-62E0-673A-98A9-519DBAAE0B5B}"/>
          </ac:spMkLst>
        </pc:spChg>
        <pc:spChg chg="mod">
          <ac:chgData name="Tanna, Drashty" userId="S::drtanna@deloitte.com::2ebec2a7-57b3-4ec0-a50b-e21cea8033ef" providerId="AD" clId="Web-{BFC29546-8AE8-AF0E-F934-FCABF4B523BA}" dt="2025-06-06T22:37:52.235" v="430" actId="20577"/>
          <ac:spMkLst>
            <pc:docMk/>
            <pc:sldMk cId="4194400554" sldId="2147480495"/>
            <ac:spMk id="7" creationId="{50415359-FF54-DB7A-F60A-AC3DC0FFDC7A}"/>
          </ac:spMkLst>
        </pc:spChg>
        <pc:spChg chg="mod">
          <ac:chgData name="Tanna, Drashty" userId="S::drtanna@deloitte.com::2ebec2a7-57b3-4ec0-a50b-e21cea8033ef" providerId="AD" clId="Web-{BFC29546-8AE8-AF0E-F934-FCABF4B523BA}" dt="2025-06-06T22:35:09.474" v="384" actId="20577"/>
          <ac:spMkLst>
            <pc:docMk/>
            <pc:sldMk cId="4194400554" sldId="2147480495"/>
            <ac:spMk id="8" creationId="{D9625E16-84F4-9788-76E3-4ED418907224}"/>
          </ac:spMkLst>
        </pc:spChg>
      </pc:sldChg>
    </pc:docChg>
  </pc:docChgLst>
  <pc:docChgLst>
    <pc:chgData name="Kumar, Rajnish" userId="S::rajnkumar@deloitte.com::dcd8116d-7ee8-4dbf-8f56-038c2219e7ba" providerId="AD" clId="Web-{EDBE6AE0-9F16-B599-AFAE-C11AFC4FBAA8}"/>
    <pc:docChg chg="modSld">
      <pc:chgData name="Kumar, Rajnish" userId="S::rajnkumar@deloitte.com::dcd8116d-7ee8-4dbf-8f56-038c2219e7ba" providerId="AD" clId="Web-{EDBE6AE0-9F16-B599-AFAE-C11AFC4FBAA8}" dt="2025-06-13T12:32:15.650" v="442" actId="20577"/>
      <pc:docMkLst>
        <pc:docMk/>
      </pc:docMkLst>
      <pc:sldChg chg="modSp">
        <pc:chgData name="Kumar, Rajnish" userId="S::rajnkumar@deloitte.com::dcd8116d-7ee8-4dbf-8f56-038c2219e7ba" providerId="AD" clId="Web-{EDBE6AE0-9F16-B599-AFAE-C11AFC4FBAA8}" dt="2025-06-13T10:40:03.478" v="4" actId="20577"/>
        <pc:sldMkLst>
          <pc:docMk/>
          <pc:sldMk cId="1239195161" sldId="2147480498"/>
        </pc:sldMkLst>
        <pc:spChg chg="mod">
          <ac:chgData name="Kumar, Rajnish" userId="S::rajnkumar@deloitte.com::dcd8116d-7ee8-4dbf-8f56-038c2219e7ba" providerId="AD" clId="Web-{EDBE6AE0-9F16-B599-AFAE-C11AFC4FBAA8}" dt="2025-06-13T10:40:03.478" v="4" actId="20577"/>
          <ac:spMkLst>
            <pc:docMk/>
            <pc:sldMk cId="1239195161" sldId="2147480498"/>
            <ac:spMk id="9" creationId="{5BD6EF47-A43D-1D5B-DC08-C13BD9364D40}"/>
          </ac:spMkLst>
        </pc:spChg>
      </pc:sldChg>
      <pc:sldChg chg="modSp">
        <pc:chgData name="Kumar, Rajnish" userId="S::rajnkumar@deloitte.com::dcd8116d-7ee8-4dbf-8f56-038c2219e7ba" providerId="AD" clId="Web-{EDBE6AE0-9F16-B599-AFAE-C11AFC4FBAA8}" dt="2025-06-13T11:12:50.071" v="68" actId="20577"/>
        <pc:sldMkLst>
          <pc:docMk/>
          <pc:sldMk cId="551770475" sldId="2147480502"/>
        </pc:sldMkLst>
        <pc:spChg chg="mod">
          <ac:chgData name="Kumar, Rajnish" userId="S::rajnkumar@deloitte.com::dcd8116d-7ee8-4dbf-8f56-038c2219e7ba" providerId="AD" clId="Web-{EDBE6AE0-9F16-B599-AFAE-C11AFC4FBAA8}" dt="2025-06-13T11:08:37.765" v="42" actId="20577"/>
          <ac:spMkLst>
            <pc:docMk/>
            <pc:sldMk cId="551770475" sldId="2147480502"/>
            <ac:spMk id="8" creationId="{52E8F0E3-8CDC-C432-F24C-A17DCD1ED364}"/>
          </ac:spMkLst>
        </pc:spChg>
        <pc:spChg chg="mod">
          <ac:chgData name="Kumar, Rajnish" userId="S::rajnkumar@deloitte.com::dcd8116d-7ee8-4dbf-8f56-038c2219e7ba" providerId="AD" clId="Web-{EDBE6AE0-9F16-B599-AFAE-C11AFC4FBAA8}" dt="2025-06-13T11:12:50.071" v="68" actId="20577"/>
          <ac:spMkLst>
            <pc:docMk/>
            <pc:sldMk cId="551770475" sldId="2147480502"/>
            <ac:spMk id="9" creationId="{F286BFAE-1C52-CA6B-C3FE-8141B95ACD4D}"/>
          </ac:spMkLst>
        </pc:spChg>
      </pc:sldChg>
      <pc:sldChg chg="modSp">
        <pc:chgData name="Kumar, Rajnish" userId="S::rajnkumar@deloitte.com::dcd8116d-7ee8-4dbf-8f56-038c2219e7ba" providerId="AD" clId="Web-{EDBE6AE0-9F16-B599-AFAE-C11AFC4FBAA8}" dt="2025-06-13T11:33:44.569" v="279" actId="20577"/>
        <pc:sldMkLst>
          <pc:docMk/>
          <pc:sldMk cId="3401438013" sldId="2147480503"/>
        </pc:sldMkLst>
        <pc:spChg chg="mod">
          <ac:chgData name="Kumar, Rajnish" userId="S::rajnkumar@deloitte.com::dcd8116d-7ee8-4dbf-8f56-038c2219e7ba" providerId="AD" clId="Web-{EDBE6AE0-9F16-B599-AFAE-C11AFC4FBAA8}" dt="2025-06-13T11:26:13.131" v="122" actId="20577"/>
          <ac:spMkLst>
            <pc:docMk/>
            <pc:sldMk cId="3401438013" sldId="2147480503"/>
            <ac:spMk id="5" creationId="{532E51A1-725F-C216-532C-8A42B9AB0315}"/>
          </ac:spMkLst>
        </pc:spChg>
        <pc:spChg chg="mod">
          <ac:chgData name="Kumar, Rajnish" userId="S::rajnkumar@deloitte.com::dcd8116d-7ee8-4dbf-8f56-038c2219e7ba" providerId="AD" clId="Web-{EDBE6AE0-9F16-B599-AFAE-C11AFC4FBAA8}" dt="2025-06-13T11:28:19.714" v="178" actId="20577"/>
          <ac:spMkLst>
            <pc:docMk/>
            <pc:sldMk cId="3401438013" sldId="2147480503"/>
            <ac:spMk id="6" creationId="{D17D7BCD-7D8C-45D0-C125-B4AFDDFDFD77}"/>
          </ac:spMkLst>
        </pc:spChg>
        <pc:spChg chg="mod">
          <ac:chgData name="Kumar, Rajnish" userId="S::rajnkumar@deloitte.com::dcd8116d-7ee8-4dbf-8f56-038c2219e7ba" providerId="AD" clId="Web-{EDBE6AE0-9F16-B599-AFAE-C11AFC4FBAA8}" dt="2025-06-13T11:30:44.766" v="239" actId="20577"/>
          <ac:spMkLst>
            <pc:docMk/>
            <pc:sldMk cId="3401438013" sldId="2147480503"/>
            <ac:spMk id="8" creationId="{2986F48D-D1E8-8B94-BD11-272FB81B8973}"/>
          </ac:spMkLst>
        </pc:spChg>
        <pc:spChg chg="mod">
          <ac:chgData name="Kumar, Rajnish" userId="S::rajnkumar@deloitte.com::dcd8116d-7ee8-4dbf-8f56-038c2219e7ba" providerId="AD" clId="Web-{EDBE6AE0-9F16-B599-AFAE-C11AFC4FBAA8}" dt="2025-06-13T11:33:44.569" v="279" actId="20577"/>
          <ac:spMkLst>
            <pc:docMk/>
            <pc:sldMk cId="3401438013" sldId="2147480503"/>
            <ac:spMk id="9" creationId="{B236CC4C-1B8B-5438-DEB8-93E76313C4CF}"/>
          </ac:spMkLst>
        </pc:spChg>
      </pc:sldChg>
      <pc:sldChg chg="modSp">
        <pc:chgData name="Kumar, Rajnish" userId="S::rajnkumar@deloitte.com::dcd8116d-7ee8-4dbf-8f56-038c2219e7ba" providerId="AD" clId="Web-{EDBE6AE0-9F16-B599-AFAE-C11AFC4FBAA8}" dt="2025-06-13T11:17:24.143" v="77" actId="20577"/>
        <pc:sldMkLst>
          <pc:docMk/>
          <pc:sldMk cId="3624343574" sldId="2147480504"/>
        </pc:sldMkLst>
        <pc:spChg chg="mod">
          <ac:chgData name="Kumar, Rajnish" userId="S::rajnkumar@deloitte.com::dcd8116d-7ee8-4dbf-8f56-038c2219e7ba" providerId="AD" clId="Web-{EDBE6AE0-9F16-B599-AFAE-C11AFC4FBAA8}" dt="2025-06-13T11:17:24.143" v="77" actId="20577"/>
          <ac:spMkLst>
            <pc:docMk/>
            <pc:sldMk cId="3624343574" sldId="2147480504"/>
            <ac:spMk id="4" creationId="{9B686637-9E8E-FCB5-AA39-C5E951BF97CF}"/>
          </ac:spMkLst>
        </pc:spChg>
        <pc:spChg chg="mod">
          <ac:chgData name="Kumar, Rajnish" userId="S::rajnkumar@deloitte.com::dcd8116d-7ee8-4dbf-8f56-038c2219e7ba" providerId="AD" clId="Web-{EDBE6AE0-9F16-B599-AFAE-C11AFC4FBAA8}" dt="2025-06-13T11:03:42.317" v="16" actId="20577"/>
          <ac:spMkLst>
            <pc:docMk/>
            <pc:sldMk cId="3624343574" sldId="2147480504"/>
            <ac:spMk id="8" creationId="{2C564584-E2F8-7E02-0E9D-7C92C3FE3252}"/>
          </ac:spMkLst>
        </pc:spChg>
        <pc:spChg chg="mod">
          <ac:chgData name="Kumar, Rajnish" userId="S::rajnkumar@deloitte.com::dcd8116d-7ee8-4dbf-8f56-038c2219e7ba" providerId="AD" clId="Web-{EDBE6AE0-9F16-B599-AFAE-C11AFC4FBAA8}" dt="2025-06-13T11:03:53.255" v="30" actId="20577"/>
          <ac:spMkLst>
            <pc:docMk/>
            <pc:sldMk cId="3624343574" sldId="2147480504"/>
            <ac:spMk id="9" creationId="{B882E468-651F-06F6-89E9-7065981965CB}"/>
          </ac:spMkLst>
        </pc:spChg>
      </pc:sldChg>
      <pc:sldChg chg="modSp">
        <pc:chgData name="Kumar, Rajnish" userId="S::rajnkumar@deloitte.com::dcd8116d-7ee8-4dbf-8f56-038c2219e7ba" providerId="AD" clId="Web-{EDBE6AE0-9F16-B599-AFAE-C11AFC4FBAA8}" dt="2025-06-13T12:32:15.650" v="442" actId="20577"/>
        <pc:sldMkLst>
          <pc:docMk/>
          <pc:sldMk cId="1334608779" sldId="2147480505"/>
        </pc:sldMkLst>
        <pc:spChg chg="mod">
          <ac:chgData name="Kumar, Rajnish" userId="S::rajnkumar@deloitte.com::dcd8116d-7ee8-4dbf-8f56-038c2219e7ba" providerId="AD" clId="Web-{EDBE6AE0-9F16-B599-AFAE-C11AFC4FBAA8}" dt="2025-06-13T12:32:15.650" v="442" actId="20577"/>
          <ac:spMkLst>
            <pc:docMk/>
            <pc:sldMk cId="1334608779" sldId="2147480505"/>
            <ac:spMk id="9" creationId="{2A54431C-AD32-66B6-01C7-1C1786DB112B}"/>
          </ac:spMkLst>
        </pc:spChg>
      </pc:sldChg>
    </pc:docChg>
  </pc:docChgLst>
  <pc:docChgLst>
    <pc:chgData name="Tanna, Drashty" userId="S::drtanna@deloitte.com::2ebec2a7-57b3-4ec0-a50b-e21cea8033ef" providerId="AD" clId="Web-{8E9CE657-6AAB-BAC1-B8E1-24858C747DD7}"/>
    <pc:docChg chg="modSld">
      <pc:chgData name="Tanna, Drashty" userId="S::drtanna@deloitte.com::2ebec2a7-57b3-4ec0-a50b-e21cea8033ef" providerId="AD" clId="Web-{8E9CE657-6AAB-BAC1-B8E1-24858C747DD7}" dt="2025-06-13T17:48:17.175" v="1106" actId="20577"/>
      <pc:docMkLst>
        <pc:docMk/>
      </pc:docMkLst>
      <pc:sldChg chg="modSp">
        <pc:chgData name="Tanna, Drashty" userId="S::drtanna@deloitte.com::2ebec2a7-57b3-4ec0-a50b-e21cea8033ef" providerId="AD" clId="Web-{8E9CE657-6AAB-BAC1-B8E1-24858C747DD7}" dt="2025-06-13T16:24:36.160" v="85" actId="14100"/>
        <pc:sldMkLst>
          <pc:docMk/>
          <pc:sldMk cId="2104941130" sldId="2147480489"/>
        </pc:sldMkLst>
      </pc:sldChg>
      <pc:sldChg chg="modSp">
        <pc:chgData name="Tanna, Drashty" userId="S::drtanna@deloitte.com::2ebec2a7-57b3-4ec0-a50b-e21cea8033ef" providerId="AD" clId="Web-{8E9CE657-6AAB-BAC1-B8E1-24858C747DD7}" dt="2025-06-13T17:48:17.175" v="1106" actId="20577"/>
        <pc:sldMkLst>
          <pc:docMk/>
          <pc:sldMk cId="453786293" sldId="2147480490"/>
        </pc:sldMkLst>
        <pc:spChg chg="mod">
          <ac:chgData name="Tanna, Drashty" userId="S::drtanna@deloitte.com::2ebec2a7-57b3-4ec0-a50b-e21cea8033ef" providerId="AD" clId="Web-{8E9CE657-6AAB-BAC1-B8E1-24858C747DD7}" dt="2025-06-13T17:48:17.175" v="1106" actId="20577"/>
          <ac:spMkLst>
            <pc:docMk/>
            <pc:sldMk cId="453786293" sldId="2147480490"/>
            <ac:spMk id="5" creationId="{0F52009C-203E-F9D1-5093-44B75552C131}"/>
          </ac:spMkLst>
        </pc:spChg>
      </pc:sldChg>
      <pc:sldChg chg="addSp delSp modSp modNotes">
        <pc:chgData name="Tanna, Drashty" userId="S::drtanna@deloitte.com::2ebec2a7-57b3-4ec0-a50b-e21cea8033ef" providerId="AD" clId="Web-{8E9CE657-6AAB-BAC1-B8E1-24858C747DD7}" dt="2025-06-13T17:17:06.777" v="1055" actId="20577"/>
        <pc:sldMkLst>
          <pc:docMk/>
          <pc:sldMk cId="3046689714" sldId="2147480492"/>
        </pc:sldMkLst>
        <pc:spChg chg="add del mod">
          <ac:chgData name="Tanna, Drashty" userId="S::drtanna@deloitte.com::2ebec2a7-57b3-4ec0-a50b-e21cea8033ef" providerId="AD" clId="Web-{8E9CE657-6AAB-BAC1-B8E1-24858C747DD7}" dt="2025-06-13T16:27:30.854" v="111" actId="20577"/>
          <ac:spMkLst>
            <pc:docMk/>
            <pc:sldMk cId="3046689714" sldId="2147480492"/>
            <ac:spMk id="3" creationId="{E3FBB63F-65C3-6899-5BAD-C9FCC66B1697}"/>
          </ac:spMkLst>
        </pc:spChg>
        <pc:spChg chg="mod">
          <ac:chgData name="Tanna, Drashty" userId="S::drtanna@deloitte.com::2ebec2a7-57b3-4ec0-a50b-e21cea8033ef" providerId="AD" clId="Web-{8E9CE657-6AAB-BAC1-B8E1-24858C747DD7}" dt="2025-06-13T17:16:23.666" v="1045" actId="20577"/>
          <ac:spMkLst>
            <pc:docMk/>
            <pc:sldMk cId="3046689714" sldId="2147480492"/>
            <ac:spMk id="5" creationId="{AEE292BC-958C-5BA4-F76F-B5337B9AFCEA}"/>
          </ac:spMkLst>
        </pc:spChg>
        <pc:spChg chg="mod">
          <ac:chgData name="Tanna, Drashty" userId="S::drtanna@deloitte.com::2ebec2a7-57b3-4ec0-a50b-e21cea8033ef" providerId="AD" clId="Web-{8E9CE657-6AAB-BAC1-B8E1-24858C747DD7}" dt="2025-06-13T17:17:06.777" v="1055" actId="20577"/>
          <ac:spMkLst>
            <pc:docMk/>
            <pc:sldMk cId="3046689714" sldId="2147480492"/>
            <ac:spMk id="7" creationId="{EE3D0ECA-40AB-6DAB-27DA-316DD7A9F02D}"/>
          </ac:spMkLst>
        </pc:spChg>
        <pc:spChg chg="mod">
          <ac:chgData name="Tanna, Drashty" userId="S::drtanna@deloitte.com::2ebec2a7-57b3-4ec0-a50b-e21cea8033ef" providerId="AD" clId="Web-{8E9CE657-6AAB-BAC1-B8E1-24858C747DD7}" dt="2025-06-13T14:18:07.257" v="10" actId="20577"/>
          <ac:spMkLst>
            <pc:docMk/>
            <pc:sldMk cId="3046689714" sldId="2147480492"/>
            <ac:spMk id="8" creationId="{D665EE75-0427-E4B1-0ED5-1AE7A6FDF455}"/>
          </ac:spMkLst>
        </pc:spChg>
      </pc:sldChg>
      <pc:sldChg chg="modSp modNotes">
        <pc:chgData name="Tanna, Drashty" userId="S::drtanna@deloitte.com::2ebec2a7-57b3-4ec0-a50b-e21cea8033ef" providerId="AD" clId="Web-{8E9CE657-6AAB-BAC1-B8E1-24858C747DD7}" dt="2025-06-13T17:27:59.474" v="1063" actId="20577"/>
        <pc:sldMkLst>
          <pc:docMk/>
          <pc:sldMk cId="1760046505" sldId="2147480493"/>
        </pc:sldMkLst>
        <pc:spChg chg="mod">
          <ac:chgData name="Tanna, Drashty" userId="S::drtanna@deloitte.com::2ebec2a7-57b3-4ec0-a50b-e21cea8033ef" providerId="AD" clId="Web-{8E9CE657-6AAB-BAC1-B8E1-24858C747DD7}" dt="2025-06-13T17:22:17.039" v="1059" actId="20577"/>
          <ac:spMkLst>
            <pc:docMk/>
            <pc:sldMk cId="1760046505" sldId="2147480493"/>
            <ac:spMk id="5" creationId="{40FC205E-10D9-23EE-78A1-354ED5216020}"/>
          </ac:spMkLst>
        </pc:spChg>
        <pc:spChg chg="mod">
          <ac:chgData name="Tanna, Drashty" userId="S::drtanna@deloitte.com::2ebec2a7-57b3-4ec0-a50b-e21cea8033ef" providerId="AD" clId="Web-{8E9CE657-6AAB-BAC1-B8E1-24858C747DD7}" dt="2025-06-13T17:27:59.474" v="1063" actId="20577"/>
          <ac:spMkLst>
            <pc:docMk/>
            <pc:sldMk cId="1760046505" sldId="2147480493"/>
            <ac:spMk id="7" creationId="{6F4AC9B1-42E7-A3C9-A9D3-43C6344250B0}"/>
          </ac:spMkLst>
        </pc:spChg>
      </pc:sldChg>
      <pc:sldChg chg="modSp">
        <pc:chgData name="Tanna, Drashty" userId="S::drtanna@deloitte.com::2ebec2a7-57b3-4ec0-a50b-e21cea8033ef" providerId="AD" clId="Web-{8E9CE657-6AAB-BAC1-B8E1-24858C747DD7}" dt="2025-06-13T16:39:00.020" v="268" actId="20577"/>
        <pc:sldMkLst>
          <pc:docMk/>
          <pc:sldMk cId="405523565" sldId="2147480494"/>
        </pc:sldMkLst>
        <pc:spChg chg="mod">
          <ac:chgData name="Tanna, Drashty" userId="S::drtanna@deloitte.com::2ebec2a7-57b3-4ec0-a50b-e21cea8033ef" providerId="AD" clId="Web-{8E9CE657-6AAB-BAC1-B8E1-24858C747DD7}" dt="2025-06-13T16:28:49.904" v="138" actId="20577"/>
          <ac:spMkLst>
            <pc:docMk/>
            <pc:sldMk cId="405523565" sldId="2147480494"/>
            <ac:spMk id="3" creationId="{C64D82A7-59BE-E43C-DD9B-7FB02FB45898}"/>
          </ac:spMkLst>
        </pc:spChg>
        <pc:spChg chg="mod">
          <ac:chgData name="Tanna, Drashty" userId="S::drtanna@deloitte.com::2ebec2a7-57b3-4ec0-a50b-e21cea8033ef" providerId="AD" clId="Web-{8E9CE657-6AAB-BAC1-B8E1-24858C747DD7}" dt="2025-06-13T16:38:27.550" v="244" actId="20577"/>
          <ac:spMkLst>
            <pc:docMk/>
            <pc:sldMk cId="405523565" sldId="2147480494"/>
            <ac:spMk id="5" creationId="{D1BAF33D-9D41-4B5E-0ADA-BFB3BD100E46}"/>
          </ac:spMkLst>
        </pc:spChg>
        <pc:spChg chg="mod">
          <ac:chgData name="Tanna, Drashty" userId="S::drtanna@deloitte.com::2ebec2a7-57b3-4ec0-a50b-e21cea8033ef" providerId="AD" clId="Web-{8E9CE657-6AAB-BAC1-B8E1-24858C747DD7}" dt="2025-06-13T16:39:00.020" v="268" actId="20577"/>
          <ac:spMkLst>
            <pc:docMk/>
            <pc:sldMk cId="405523565" sldId="2147480494"/>
            <ac:spMk id="7" creationId="{C181EB7E-1ABA-D5B5-CC0E-58D442D46950}"/>
          </ac:spMkLst>
        </pc:spChg>
        <pc:spChg chg="mod">
          <ac:chgData name="Tanna, Drashty" userId="S::drtanna@deloitte.com::2ebec2a7-57b3-4ec0-a50b-e21cea8033ef" providerId="AD" clId="Web-{8E9CE657-6AAB-BAC1-B8E1-24858C747DD7}" dt="2025-06-13T16:29:25.874" v="174" actId="20577"/>
          <ac:spMkLst>
            <pc:docMk/>
            <pc:sldMk cId="405523565" sldId="2147480494"/>
            <ac:spMk id="8" creationId="{2152375C-1EFF-A408-6B9C-1B355D42FCF2}"/>
          </ac:spMkLst>
        </pc:spChg>
      </pc:sldChg>
      <pc:sldChg chg="modSp">
        <pc:chgData name="Tanna, Drashty" userId="S::drtanna@deloitte.com::2ebec2a7-57b3-4ec0-a50b-e21cea8033ef" providerId="AD" clId="Web-{8E9CE657-6AAB-BAC1-B8E1-24858C747DD7}" dt="2025-06-13T17:07:33.443" v="1036" actId="20577"/>
        <pc:sldMkLst>
          <pc:docMk/>
          <pc:sldMk cId="4194400554" sldId="2147480495"/>
        </pc:sldMkLst>
        <pc:spChg chg="mod">
          <ac:chgData name="Tanna, Drashty" userId="S::drtanna@deloitte.com::2ebec2a7-57b3-4ec0-a50b-e21cea8033ef" providerId="AD" clId="Web-{8E9CE657-6AAB-BAC1-B8E1-24858C747DD7}" dt="2025-06-13T16:55:34.135" v="612" actId="20577"/>
          <ac:spMkLst>
            <pc:docMk/>
            <pc:sldMk cId="4194400554" sldId="2147480495"/>
            <ac:spMk id="5" creationId="{97734820-2295-F988-D39C-E63677E65635}"/>
          </ac:spMkLst>
        </pc:spChg>
        <pc:spChg chg="mod">
          <ac:chgData name="Tanna, Drashty" userId="S::drtanna@deloitte.com::2ebec2a7-57b3-4ec0-a50b-e21cea8033ef" providerId="AD" clId="Web-{8E9CE657-6AAB-BAC1-B8E1-24858C747DD7}" dt="2025-06-13T17:07:33.443" v="1036" actId="20577"/>
          <ac:spMkLst>
            <pc:docMk/>
            <pc:sldMk cId="4194400554" sldId="2147480495"/>
            <ac:spMk id="7" creationId="{50415359-FF54-DB7A-F60A-AC3DC0FFDC7A}"/>
          </ac:spMkLst>
        </pc:spChg>
        <pc:spChg chg="mod">
          <ac:chgData name="Tanna, Drashty" userId="S::drtanna@deloitte.com::2ebec2a7-57b3-4ec0-a50b-e21cea8033ef" providerId="AD" clId="Web-{8E9CE657-6AAB-BAC1-B8E1-24858C747DD7}" dt="2025-06-13T16:44:31.658" v="273" actId="20577"/>
          <ac:spMkLst>
            <pc:docMk/>
            <pc:sldMk cId="4194400554" sldId="2147480495"/>
            <ac:spMk id="8" creationId="{D9625E16-84F4-9788-76E3-4ED418907224}"/>
          </ac:spMkLst>
        </pc:spChg>
      </pc:sldChg>
      <pc:sldChg chg="modSp">
        <pc:chgData name="Tanna, Drashty" userId="S::drtanna@deloitte.com::2ebec2a7-57b3-4ec0-a50b-e21cea8033ef" providerId="AD" clId="Web-{8E9CE657-6AAB-BAC1-B8E1-24858C747DD7}" dt="2025-06-13T16:47:53.368" v="276" actId="14100"/>
        <pc:sldMkLst>
          <pc:docMk/>
          <pc:sldMk cId="1297285323" sldId="2147480500"/>
        </pc:sldMkLst>
      </pc:sldChg>
      <pc:sldChg chg="modSp">
        <pc:chgData name="Tanna, Drashty" userId="S::drtanna@deloitte.com::2ebec2a7-57b3-4ec0-a50b-e21cea8033ef" providerId="AD" clId="Web-{8E9CE657-6AAB-BAC1-B8E1-24858C747DD7}" dt="2025-06-13T17:06:46.301" v="1012" actId="20577"/>
        <pc:sldMkLst>
          <pc:docMk/>
          <pc:sldMk cId="3454177366" sldId="2147480501"/>
        </pc:sldMkLst>
        <pc:spChg chg="mod">
          <ac:chgData name="Tanna, Drashty" userId="S::drtanna@deloitte.com::2ebec2a7-57b3-4ec0-a50b-e21cea8033ef" providerId="AD" clId="Web-{8E9CE657-6AAB-BAC1-B8E1-24858C747DD7}" dt="2025-06-13T17:06:46.301" v="1012" actId="20577"/>
          <ac:spMkLst>
            <pc:docMk/>
            <pc:sldMk cId="3454177366" sldId="2147480501"/>
            <ac:spMk id="5" creationId="{88E0FE8C-AED9-D892-DC0C-FDE4A4E24BFA}"/>
          </ac:spMkLst>
        </pc:spChg>
        <pc:spChg chg="mod">
          <ac:chgData name="Tanna, Drashty" userId="S::drtanna@deloitte.com::2ebec2a7-57b3-4ec0-a50b-e21cea8033ef" providerId="AD" clId="Web-{8E9CE657-6AAB-BAC1-B8E1-24858C747DD7}" dt="2025-06-13T17:05:44.721" v="1001" actId="20577"/>
          <ac:spMkLst>
            <pc:docMk/>
            <pc:sldMk cId="3454177366" sldId="2147480501"/>
            <ac:spMk id="7" creationId="{64CB0172-EB3B-2C62-105A-B1DCDB9583C0}"/>
          </ac:spMkLst>
        </pc:spChg>
      </pc:sldChg>
    </pc:docChg>
  </pc:docChgLst>
  <pc:docChgLst>
    <pc:chgData name="Viswanath, Manda" userId="bc56b8a0-69ce-47f3-b12c-8aa0b60fe648" providerId="ADAL" clId="{83895837-ECC2-4CD7-BF0A-2AECF75EEF54}"/>
    <pc:docChg chg="undo custSel modSld">
      <pc:chgData name="Viswanath, Manda" userId="bc56b8a0-69ce-47f3-b12c-8aa0b60fe648" providerId="ADAL" clId="{83895837-ECC2-4CD7-BF0A-2AECF75EEF54}" dt="2025-05-22T14:18:32.535" v="1" actId="15"/>
      <pc:docMkLst>
        <pc:docMk/>
      </pc:docMkLst>
      <pc:sldChg chg="modSp mod">
        <pc:chgData name="Viswanath, Manda" userId="bc56b8a0-69ce-47f3-b12c-8aa0b60fe648" providerId="ADAL" clId="{83895837-ECC2-4CD7-BF0A-2AECF75EEF54}" dt="2025-05-22T14:18:32.535" v="1" actId="15"/>
        <pc:sldMkLst>
          <pc:docMk/>
          <pc:sldMk cId="1346666615" sldId="2147480444"/>
        </pc:sldMkLst>
        <pc:spChg chg="mod">
          <ac:chgData name="Viswanath, Manda" userId="bc56b8a0-69ce-47f3-b12c-8aa0b60fe648" providerId="ADAL" clId="{83895837-ECC2-4CD7-BF0A-2AECF75EEF54}" dt="2025-05-22T14:18:32.535" v="1" actId="15"/>
          <ac:spMkLst>
            <pc:docMk/>
            <pc:sldMk cId="1346666615" sldId="2147480444"/>
            <ac:spMk id="9" creationId="{F98C7622-BFE8-1201-4482-0795493BBEAF}"/>
          </ac:spMkLst>
        </pc:spChg>
      </pc:sldChg>
    </pc:docChg>
  </pc:docChgLst>
  <pc:docChgLst>
    <pc:chgData name="Kanagasundaram, Senthil" userId="ad0514d2-f5b9-46b6-980a-a8b5153a9916" providerId="ADAL" clId="{38506DFD-4B25-4139-A22B-6C8A840DF91F}"/>
    <pc:docChg chg="undo redo custSel addSld delSld modSld sldOrd modSection">
      <pc:chgData name="Kanagasundaram, Senthil" userId="ad0514d2-f5b9-46b6-980a-a8b5153a9916" providerId="ADAL" clId="{38506DFD-4B25-4139-A22B-6C8A840DF91F}" dt="2025-06-15T13:53:18.873" v="7314" actId="478"/>
      <pc:docMkLst>
        <pc:docMk/>
      </pc:docMkLst>
      <pc:sldChg chg="addSp delSp modSp mod modNotesTx">
        <pc:chgData name="Kanagasundaram, Senthil" userId="ad0514d2-f5b9-46b6-980a-a8b5153a9916" providerId="ADAL" clId="{38506DFD-4B25-4139-A22B-6C8A840DF91F}" dt="2025-06-15T12:10:54.783" v="7024" actId="552"/>
        <pc:sldMkLst>
          <pc:docMk/>
          <pc:sldMk cId="1326975581" sldId="1242"/>
        </pc:sldMkLst>
        <pc:spChg chg="mod">
          <ac:chgData name="Kanagasundaram, Senthil" userId="ad0514d2-f5b9-46b6-980a-a8b5153a9916" providerId="ADAL" clId="{38506DFD-4B25-4139-A22B-6C8A840DF91F}" dt="2025-06-09T05:50:52.611" v="296" actId="313"/>
          <ac:spMkLst>
            <pc:docMk/>
            <pc:sldMk cId="1326975581" sldId="1242"/>
            <ac:spMk id="3" creationId="{C34EE1C7-7022-E52F-3479-93FEA4F20104}"/>
          </ac:spMkLst>
        </pc:spChg>
        <pc:spChg chg="mod">
          <ac:chgData name="Kanagasundaram, Senthil" userId="ad0514d2-f5b9-46b6-980a-a8b5153a9916" providerId="ADAL" clId="{38506DFD-4B25-4139-A22B-6C8A840DF91F}" dt="2025-06-15T12:10:54.783" v="7024" actId="552"/>
          <ac:spMkLst>
            <pc:docMk/>
            <pc:sldMk cId="1326975581" sldId="1242"/>
            <ac:spMk id="4" creationId="{C578ACA3-AADC-8C02-A715-D5F3074BF440}"/>
          </ac:spMkLst>
        </pc:spChg>
        <pc:spChg chg="mod">
          <ac:chgData name="Kanagasundaram, Senthil" userId="ad0514d2-f5b9-46b6-980a-a8b5153a9916" providerId="ADAL" clId="{38506DFD-4B25-4139-A22B-6C8A840DF91F}" dt="2025-06-15T12:10:50.583" v="7023" actId="552"/>
          <ac:spMkLst>
            <pc:docMk/>
            <pc:sldMk cId="1326975581" sldId="1242"/>
            <ac:spMk id="5" creationId="{0F52009C-203E-F9D1-5093-44B75552C131}"/>
          </ac:spMkLst>
        </pc:spChg>
        <pc:spChg chg="mod">
          <ac:chgData name="Kanagasundaram, Senthil" userId="ad0514d2-f5b9-46b6-980a-a8b5153a9916" providerId="ADAL" clId="{38506DFD-4B25-4139-A22B-6C8A840DF91F}" dt="2025-06-15T12:10:50.583" v="7023" actId="552"/>
          <ac:spMkLst>
            <pc:docMk/>
            <pc:sldMk cId="1326975581" sldId="1242"/>
            <ac:spMk id="6" creationId="{5BB1876E-8859-3EDE-E884-7999A7F95D48}"/>
          </ac:spMkLst>
        </pc:spChg>
        <pc:spChg chg="add mod">
          <ac:chgData name="Kanagasundaram, Senthil" userId="ad0514d2-f5b9-46b6-980a-a8b5153a9916" providerId="ADAL" clId="{38506DFD-4B25-4139-A22B-6C8A840DF91F}" dt="2025-06-10T23:46:02.215" v="3334" actId="20577"/>
          <ac:spMkLst>
            <pc:docMk/>
            <pc:sldMk cId="1326975581" sldId="1242"/>
            <ac:spMk id="7" creationId="{B59D2FB8-552C-6907-F95F-CE5CFF534FD5}"/>
          </ac:spMkLst>
        </pc:spChg>
        <pc:spChg chg="mod">
          <ac:chgData name="Kanagasundaram, Senthil" userId="ad0514d2-f5b9-46b6-980a-a8b5153a9916" providerId="ADAL" clId="{38506DFD-4B25-4139-A22B-6C8A840DF91F}" dt="2025-06-15T12:10:54.783" v="7024" actId="552"/>
          <ac:spMkLst>
            <pc:docMk/>
            <pc:sldMk cId="1326975581" sldId="1242"/>
            <ac:spMk id="9" creationId="{1AC189B4-F73A-5839-D077-63290EE73F94}"/>
          </ac:spMkLst>
        </pc:spChg>
      </pc:sldChg>
      <pc:sldChg chg="addSp delSp modSp mod ord">
        <pc:chgData name="Kanagasundaram, Senthil" userId="ad0514d2-f5b9-46b6-980a-a8b5153a9916" providerId="ADAL" clId="{38506DFD-4B25-4139-A22B-6C8A840DF91F}" dt="2025-06-09T05:28:13.594" v="7" actId="21"/>
        <pc:sldMkLst>
          <pc:docMk/>
          <pc:sldMk cId="2193050719" sldId="2147480369"/>
        </pc:sldMkLst>
      </pc:sldChg>
      <pc:sldChg chg="addSp delSp modSp mod modNotesTx">
        <pc:chgData name="Kanagasundaram, Senthil" userId="ad0514d2-f5b9-46b6-980a-a8b5153a9916" providerId="ADAL" clId="{38506DFD-4B25-4139-A22B-6C8A840DF91F}" dt="2025-06-15T12:13:22.605" v="7034" actId="552"/>
        <pc:sldMkLst>
          <pc:docMk/>
          <pc:sldMk cId="3943323305" sldId="2147480451"/>
        </pc:sldMkLst>
        <pc:spChg chg="mod">
          <ac:chgData name="Kanagasundaram, Senthil" userId="ad0514d2-f5b9-46b6-980a-a8b5153a9916" providerId="ADAL" clId="{38506DFD-4B25-4139-A22B-6C8A840DF91F}" dt="2025-06-15T12:13:22.605" v="7034" actId="552"/>
          <ac:spMkLst>
            <pc:docMk/>
            <pc:sldMk cId="3943323305" sldId="2147480451"/>
            <ac:spMk id="4" creationId="{D00745B2-75A1-0AC8-4C39-5618D6FF5C1B}"/>
          </ac:spMkLst>
        </pc:spChg>
        <pc:spChg chg="mod">
          <ac:chgData name="Kanagasundaram, Senthil" userId="ad0514d2-f5b9-46b6-980a-a8b5153a9916" providerId="ADAL" clId="{38506DFD-4B25-4139-A22B-6C8A840DF91F}" dt="2025-06-15T12:13:17.695" v="7032" actId="552"/>
          <ac:spMkLst>
            <pc:docMk/>
            <pc:sldMk cId="3943323305" sldId="2147480451"/>
            <ac:spMk id="5" creationId="{14A88BCF-9352-A540-345D-D4C26E14DEBF}"/>
          </ac:spMkLst>
        </pc:spChg>
        <pc:spChg chg="mod">
          <ac:chgData name="Kanagasundaram, Senthil" userId="ad0514d2-f5b9-46b6-980a-a8b5153a9916" providerId="ADAL" clId="{38506DFD-4B25-4139-A22B-6C8A840DF91F}" dt="2025-06-15T12:13:17.695" v="7032" actId="552"/>
          <ac:spMkLst>
            <pc:docMk/>
            <pc:sldMk cId="3943323305" sldId="2147480451"/>
            <ac:spMk id="6" creationId="{C7AB02ED-6B99-D130-88DA-D3AE5E8812C4}"/>
          </ac:spMkLst>
        </pc:spChg>
        <pc:spChg chg="add mod">
          <ac:chgData name="Kanagasundaram, Senthil" userId="ad0514d2-f5b9-46b6-980a-a8b5153a9916" providerId="ADAL" clId="{38506DFD-4B25-4139-A22B-6C8A840DF91F}" dt="2025-06-09T08:39:05.284" v="1036" actId="20577"/>
          <ac:spMkLst>
            <pc:docMk/>
            <pc:sldMk cId="3943323305" sldId="2147480451"/>
            <ac:spMk id="7" creationId="{9D280273-87E3-02C2-0DD2-CA3FF7365AE4}"/>
          </ac:spMkLst>
        </pc:spChg>
        <pc:spChg chg="mod">
          <ac:chgData name="Kanagasundaram, Senthil" userId="ad0514d2-f5b9-46b6-980a-a8b5153a9916" providerId="ADAL" clId="{38506DFD-4B25-4139-A22B-6C8A840DF91F}" dt="2025-06-15T12:13:22.605" v="7034" actId="552"/>
          <ac:spMkLst>
            <pc:docMk/>
            <pc:sldMk cId="3943323305" sldId="2147480451"/>
            <ac:spMk id="10" creationId="{8D61C51C-1B86-64A2-850D-2523E0447588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12:11:56.637" v="7026" actId="108"/>
        <pc:sldMkLst>
          <pc:docMk/>
          <pc:sldMk cId="258167040" sldId="2147480453"/>
        </pc:sldMkLst>
        <pc:spChg chg="mod">
          <ac:chgData name="Kanagasundaram, Senthil" userId="ad0514d2-f5b9-46b6-980a-a8b5153a9916" providerId="ADAL" clId="{38506DFD-4B25-4139-A22B-6C8A840DF91F}" dt="2025-06-15T12:09:08.532" v="7011" actId="313"/>
          <ac:spMkLst>
            <pc:docMk/>
            <pc:sldMk cId="258167040" sldId="2147480453"/>
            <ac:spMk id="4" creationId="{D00745B2-75A1-0AC8-4C39-5618D6FF5C1B}"/>
          </ac:spMkLst>
        </pc:spChg>
        <pc:spChg chg="mod">
          <ac:chgData name="Kanagasundaram, Senthil" userId="ad0514d2-f5b9-46b6-980a-a8b5153a9916" providerId="ADAL" clId="{38506DFD-4B25-4139-A22B-6C8A840DF91F}" dt="2025-06-15T12:11:40.501" v="7025"/>
          <ac:spMkLst>
            <pc:docMk/>
            <pc:sldMk cId="258167040" sldId="2147480453"/>
            <ac:spMk id="6" creationId="{C7AB02ED-6B99-D130-88DA-D3AE5E8812C4}"/>
          </ac:spMkLst>
        </pc:spChg>
        <pc:spChg chg="mod">
          <ac:chgData name="Kanagasundaram, Senthil" userId="ad0514d2-f5b9-46b6-980a-a8b5153a9916" providerId="ADAL" clId="{38506DFD-4B25-4139-A22B-6C8A840DF91F}" dt="2025-06-15T12:11:56.637" v="7026" actId="108"/>
          <ac:spMkLst>
            <pc:docMk/>
            <pc:sldMk cId="258167040" sldId="2147480453"/>
            <ac:spMk id="7" creationId="{6A0580D2-C128-7299-A175-11A5B3D15875}"/>
          </ac:spMkLst>
        </pc:spChg>
        <pc:spChg chg="add mod">
          <ac:chgData name="Kanagasundaram, Senthil" userId="ad0514d2-f5b9-46b6-980a-a8b5153a9916" providerId="ADAL" clId="{38506DFD-4B25-4139-A22B-6C8A840DF91F}" dt="2025-06-09T05:28:39.686" v="9"/>
          <ac:spMkLst>
            <pc:docMk/>
            <pc:sldMk cId="258167040" sldId="2147480453"/>
            <ac:spMk id="9" creationId="{11EAEA43-F4A9-F86F-FBE4-EDE81CA7C159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12:14:18.914" v="7041" actId="552"/>
        <pc:sldMkLst>
          <pc:docMk/>
          <pc:sldMk cId="1274820467" sldId="2147480457"/>
        </pc:sldMkLst>
        <pc:spChg chg="mod">
          <ac:chgData name="Kanagasundaram, Senthil" userId="ad0514d2-f5b9-46b6-980a-a8b5153a9916" providerId="ADAL" clId="{38506DFD-4B25-4139-A22B-6C8A840DF91F}" dt="2025-06-15T12:14:18.914" v="7041" actId="552"/>
          <ac:spMkLst>
            <pc:docMk/>
            <pc:sldMk cId="1274820467" sldId="2147480457"/>
            <ac:spMk id="4" creationId="{D00745B2-75A1-0AC8-4C39-5618D6FF5C1B}"/>
          </ac:spMkLst>
        </pc:spChg>
        <pc:spChg chg="mod">
          <ac:chgData name="Kanagasundaram, Senthil" userId="ad0514d2-f5b9-46b6-980a-a8b5153a9916" providerId="ADAL" clId="{38506DFD-4B25-4139-A22B-6C8A840DF91F}" dt="2025-06-15T12:14:15.336" v="7040" actId="552"/>
          <ac:spMkLst>
            <pc:docMk/>
            <pc:sldMk cId="1274820467" sldId="2147480457"/>
            <ac:spMk id="5" creationId="{14A88BCF-9352-A540-345D-D4C26E14DEBF}"/>
          </ac:spMkLst>
        </pc:spChg>
        <pc:spChg chg="mod">
          <ac:chgData name="Kanagasundaram, Senthil" userId="ad0514d2-f5b9-46b6-980a-a8b5153a9916" providerId="ADAL" clId="{38506DFD-4B25-4139-A22B-6C8A840DF91F}" dt="2025-06-15T12:14:15.336" v="7040" actId="552"/>
          <ac:spMkLst>
            <pc:docMk/>
            <pc:sldMk cId="1274820467" sldId="2147480457"/>
            <ac:spMk id="6" creationId="{C7AB02ED-6B99-D130-88DA-D3AE5E8812C4}"/>
          </ac:spMkLst>
        </pc:spChg>
        <pc:spChg chg="add mod">
          <ac:chgData name="Kanagasundaram, Senthil" userId="ad0514d2-f5b9-46b6-980a-a8b5153a9916" providerId="ADAL" clId="{38506DFD-4B25-4139-A22B-6C8A840DF91F}" dt="2025-06-09T05:28:57.315" v="14" actId="20577"/>
          <ac:spMkLst>
            <pc:docMk/>
            <pc:sldMk cId="1274820467" sldId="2147480457"/>
            <ac:spMk id="7" creationId="{CD20104B-9C92-2AA8-4071-C8CB2AC0E256}"/>
          </ac:spMkLst>
        </pc:spChg>
        <pc:spChg chg="mod">
          <ac:chgData name="Kanagasundaram, Senthil" userId="ad0514d2-f5b9-46b6-980a-a8b5153a9916" providerId="ADAL" clId="{38506DFD-4B25-4139-A22B-6C8A840DF91F}" dt="2025-06-15T12:14:18.914" v="7041" actId="552"/>
          <ac:spMkLst>
            <pc:docMk/>
            <pc:sldMk cId="1274820467" sldId="2147480457"/>
            <ac:spMk id="10" creationId="{8D61C51C-1B86-64A2-850D-2523E0447588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12:16:28.449" v="7050" actId="552"/>
        <pc:sldMkLst>
          <pc:docMk/>
          <pc:sldMk cId="3915799366" sldId="2147480458"/>
        </pc:sldMkLst>
        <pc:spChg chg="mod">
          <ac:chgData name="Kanagasundaram, Senthil" userId="ad0514d2-f5b9-46b6-980a-a8b5153a9916" providerId="ADAL" clId="{38506DFD-4B25-4139-A22B-6C8A840DF91F}" dt="2025-06-15T12:16:28.449" v="7050" actId="552"/>
          <ac:spMkLst>
            <pc:docMk/>
            <pc:sldMk cId="3915799366" sldId="2147480458"/>
            <ac:spMk id="4" creationId="{D00745B2-75A1-0AC8-4C39-5618D6FF5C1B}"/>
          </ac:spMkLst>
        </pc:spChg>
        <pc:spChg chg="mod">
          <ac:chgData name="Kanagasundaram, Senthil" userId="ad0514d2-f5b9-46b6-980a-a8b5153a9916" providerId="ADAL" clId="{38506DFD-4B25-4139-A22B-6C8A840DF91F}" dt="2025-06-15T12:16:24.600" v="7049" actId="552"/>
          <ac:spMkLst>
            <pc:docMk/>
            <pc:sldMk cId="3915799366" sldId="2147480458"/>
            <ac:spMk id="5" creationId="{14A88BCF-9352-A540-345D-D4C26E14DEBF}"/>
          </ac:spMkLst>
        </pc:spChg>
        <pc:spChg chg="mod">
          <ac:chgData name="Kanagasundaram, Senthil" userId="ad0514d2-f5b9-46b6-980a-a8b5153a9916" providerId="ADAL" clId="{38506DFD-4B25-4139-A22B-6C8A840DF91F}" dt="2025-06-15T12:16:24.600" v="7049" actId="552"/>
          <ac:spMkLst>
            <pc:docMk/>
            <pc:sldMk cId="3915799366" sldId="2147480458"/>
            <ac:spMk id="6" creationId="{C7AB02ED-6B99-D130-88DA-D3AE5E8812C4}"/>
          </ac:spMkLst>
        </pc:spChg>
        <pc:spChg chg="add mod">
          <ac:chgData name="Kanagasundaram, Senthil" userId="ad0514d2-f5b9-46b6-980a-a8b5153a9916" providerId="ADAL" clId="{38506DFD-4B25-4139-A22B-6C8A840DF91F}" dt="2025-06-09T05:29:04.976" v="15"/>
          <ac:spMkLst>
            <pc:docMk/>
            <pc:sldMk cId="3915799366" sldId="2147480458"/>
            <ac:spMk id="7" creationId="{036818A7-7D05-1883-4D60-3B3D02B33413}"/>
          </ac:spMkLst>
        </pc:spChg>
        <pc:spChg chg="mod">
          <ac:chgData name="Kanagasundaram, Senthil" userId="ad0514d2-f5b9-46b6-980a-a8b5153a9916" providerId="ADAL" clId="{38506DFD-4B25-4139-A22B-6C8A840DF91F}" dt="2025-06-15T12:16:28.449" v="7050" actId="552"/>
          <ac:spMkLst>
            <pc:docMk/>
            <pc:sldMk cId="3915799366" sldId="2147480458"/>
            <ac:spMk id="10" creationId="{8D61C51C-1B86-64A2-850D-2523E0447588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12:19:15.009" v="7074" actId="552"/>
        <pc:sldMkLst>
          <pc:docMk/>
          <pc:sldMk cId="1339825355" sldId="2147480459"/>
        </pc:sldMkLst>
        <pc:spChg chg="mod">
          <ac:chgData name="Kanagasundaram, Senthil" userId="ad0514d2-f5b9-46b6-980a-a8b5153a9916" providerId="ADAL" clId="{38506DFD-4B25-4139-A22B-6C8A840DF91F}" dt="2025-06-15T12:19:15.009" v="7074" actId="552"/>
          <ac:spMkLst>
            <pc:docMk/>
            <pc:sldMk cId="1339825355" sldId="2147480459"/>
            <ac:spMk id="4" creationId="{D00745B2-75A1-0AC8-4C39-5618D6FF5C1B}"/>
          </ac:spMkLst>
        </pc:spChg>
        <pc:spChg chg="mod">
          <ac:chgData name="Kanagasundaram, Senthil" userId="ad0514d2-f5b9-46b6-980a-a8b5153a9916" providerId="ADAL" clId="{38506DFD-4B25-4139-A22B-6C8A840DF91F}" dt="2025-06-15T12:19:11.338" v="7073" actId="552"/>
          <ac:spMkLst>
            <pc:docMk/>
            <pc:sldMk cId="1339825355" sldId="2147480459"/>
            <ac:spMk id="5" creationId="{14A88BCF-9352-A540-345D-D4C26E14DEBF}"/>
          </ac:spMkLst>
        </pc:spChg>
        <pc:spChg chg="mod">
          <ac:chgData name="Kanagasundaram, Senthil" userId="ad0514d2-f5b9-46b6-980a-a8b5153a9916" providerId="ADAL" clId="{38506DFD-4B25-4139-A22B-6C8A840DF91F}" dt="2025-06-15T12:19:11.338" v="7073" actId="552"/>
          <ac:spMkLst>
            <pc:docMk/>
            <pc:sldMk cId="1339825355" sldId="2147480459"/>
            <ac:spMk id="6" creationId="{C7AB02ED-6B99-D130-88DA-D3AE5E8812C4}"/>
          </ac:spMkLst>
        </pc:spChg>
        <pc:spChg chg="add mod">
          <ac:chgData name="Kanagasundaram, Senthil" userId="ad0514d2-f5b9-46b6-980a-a8b5153a9916" providerId="ADAL" clId="{38506DFD-4B25-4139-A22B-6C8A840DF91F}" dt="2025-06-09T05:29:10.502" v="16"/>
          <ac:spMkLst>
            <pc:docMk/>
            <pc:sldMk cId="1339825355" sldId="2147480459"/>
            <ac:spMk id="7" creationId="{9237F60A-8F33-5FEA-2AB3-6112BA2D1988}"/>
          </ac:spMkLst>
        </pc:spChg>
        <pc:spChg chg="mod">
          <ac:chgData name="Kanagasundaram, Senthil" userId="ad0514d2-f5b9-46b6-980a-a8b5153a9916" providerId="ADAL" clId="{38506DFD-4B25-4139-A22B-6C8A840DF91F}" dt="2025-06-13T02:05:48.909" v="3877" actId="20577"/>
          <ac:spMkLst>
            <pc:docMk/>
            <pc:sldMk cId="1339825355" sldId="2147480459"/>
            <ac:spMk id="8" creationId="{BA657787-4731-0A0C-9EFF-BF32F828B6E8}"/>
          </ac:spMkLst>
        </pc:spChg>
        <pc:spChg chg="mod">
          <ac:chgData name="Kanagasundaram, Senthil" userId="ad0514d2-f5b9-46b6-980a-a8b5153a9916" providerId="ADAL" clId="{38506DFD-4B25-4139-A22B-6C8A840DF91F}" dt="2025-06-15T12:19:15.009" v="7074" actId="552"/>
          <ac:spMkLst>
            <pc:docMk/>
            <pc:sldMk cId="1339825355" sldId="2147480459"/>
            <ac:spMk id="10" creationId="{8D61C51C-1B86-64A2-850D-2523E0447588}"/>
          </ac:spMkLst>
        </pc:spChg>
      </pc:sldChg>
      <pc:sldChg chg="addSp delSp modSp mod">
        <pc:chgData name="Kanagasundaram, Senthil" userId="ad0514d2-f5b9-46b6-980a-a8b5153a9916" providerId="ADAL" clId="{38506DFD-4B25-4139-A22B-6C8A840DF91F}" dt="2025-06-15T12:20:26.763" v="7097" actId="552"/>
        <pc:sldMkLst>
          <pc:docMk/>
          <pc:sldMk cId="1838323252" sldId="2147480460"/>
        </pc:sldMkLst>
        <pc:spChg chg="mod">
          <ac:chgData name="Kanagasundaram, Senthil" userId="ad0514d2-f5b9-46b6-980a-a8b5153a9916" providerId="ADAL" clId="{38506DFD-4B25-4139-A22B-6C8A840DF91F}" dt="2025-06-15T12:20:23.191" v="7096" actId="552"/>
          <ac:spMkLst>
            <pc:docMk/>
            <pc:sldMk cId="1838323252" sldId="2147480460"/>
            <ac:spMk id="4" creationId="{D00745B2-75A1-0AC8-4C39-5618D6FF5C1B}"/>
          </ac:spMkLst>
        </pc:spChg>
        <pc:spChg chg="mod">
          <ac:chgData name="Kanagasundaram, Senthil" userId="ad0514d2-f5b9-46b6-980a-a8b5153a9916" providerId="ADAL" clId="{38506DFD-4B25-4139-A22B-6C8A840DF91F}" dt="2025-06-15T12:20:26.763" v="7097" actId="552"/>
          <ac:spMkLst>
            <pc:docMk/>
            <pc:sldMk cId="1838323252" sldId="2147480460"/>
            <ac:spMk id="5" creationId="{14A88BCF-9352-A540-345D-D4C26E14DEBF}"/>
          </ac:spMkLst>
        </pc:spChg>
        <pc:spChg chg="mod">
          <ac:chgData name="Kanagasundaram, Senthil" userId="ad0514d2-f5b9-46b6-980a-a8b5153a9916" providerId="ADAL" clId="{38506DFD-4B25-4139-A22B-6C8A840DF91F}" dt="2025-06-15T12:20:26.763" v="7097" actId="552"/>
          <ac:spMkLst>
            <pc:docMk/>
            <pc:sldMk cId="1838323252" sldId="2147480460"/>
            <ac:spMk id="6" creationId="{C7AB02ED-6B99-D130-88DA-D3AE5E8812C4}"/>
          </ac:spMkLst>
        </pc:spChg>
        <pc:spChg chg="add mod">
          <ac:chgData name="Kanagasundaram, Senthil" userId="ad0514d2-f5b9-46b6-980a-a8b5153a9916" providerId="ADAL" clId="{38506DFD-4B25-4139-A22B-6C8A840DF91F}" dt="2025-06-09T05:29:24.900" v="17"/>
          <ac:spMkLst>
            <pc:docMk/>
            <pc:sldMk cId="1838323252" sldId="2147480460"/>
            <ac:spMk id="7" creationId="{10044EE9-F642-EE18-EE71-8F447CBFC67F}"/>
          </ac:spMkLst>
        </pc:spChg>
        <pc:spChg chg="mod">
          <ac:chgData name="Kanagasundaram, Senthil" userId="ad0514d2-f5b9-46b6-980a-a8b5153a9916" providerId="ADAL" clId="{38506DFD-4B25-4139-A22B-6C8A840DF91F}" dt="2025-06-15T12:20:23.191" v="7096" actId="552"/>
          <ac:spMkLst>
            <pc:docMk/>
            <pc:sldMk cId="1838323252" sldId="2147480460"/>
            <ac:spMk id="10" creationId="{8D61C51C-1B86-64A2-850D-2523E0447588}"/>
          </ac:spMkLst>
        </pc:spChg>
      </pc:sldChg>
      <pc:sldChg chg="addSp delSp modSp mod">
        <pc:chgData name="Kanagasundaram, Senthil" userId="ad0514d2-f5b9-46b6-980a-a8b5153a9916" providerId="ADAL" clId="{38506DFD-4B25-4139-A22B-6C8A840DF91F}" dt="2025-06-15T12:22:36.623" v="7121" actId="554"/>
        <pc:sldMkLst>
          <pc:docMk/>
          <pc:sldMk cId="947559461" sldId="2147480461"/>
        </pc:sldMkLst>
        <pc:spChg chg="mod">
          <ac:chgData name="Kanagasundaram, Senthil" userId="ad0514d2-f5b9-46b6-980a-a8b5153a9916" providerId="ADAL" clId="{38506DFD-4B25-4139-A22B-6C8A840DF91F}" dt="2025-06-15T12:22:25.497" v="7119" actId="1036"/>
          <ac:spMkLst>
            <pc:docMk/>
            <pc:sldMk cId="947559461" sldId="2147480461"/>
            <ac:spMk id="3" creationId="{8A56E455-E02B-96F5-C2AA-4E4E780CBDBD}"/>
          </ac:spMkLst>
        </pc:spChg>
        <pc:spChg chg="mod">
          <ac:chgData name="Kanagasundaram, Senthil" userId="ad0514d2-f5b9-46b6-980a-a8b5153a9916" providerId="ADAL" clId="{38506DFD-4B25-4139-A22B-6C8A840DF91F}" dt="2025-06-15T12:22:12.351" v="7102" actId="1076"/>
          <ac:spMkLst>
            <pc:docMk/>
            <pc:sldMk cId="947559461" sldId="2147480461"/>
            <ac:spMk id="4" creationId="{D00745B2-75A1-0AC8-4C39-5618D6FF5C1B}"/>
          </ac:spMkLst>
        </pc:spChg>
        <pc:spChg chg="mod">
          <ac:chgData name="Kanagasundaram, Senthil" userId="ad0514d2-f5b9-46b6-980a-a8b5153a9916" providerId="ADAL" clId="{38506DFD-4B25-4139-A22B-6C8A840DF91F}" dt="2025-06-15T12:22:12.351" v="7102" actId="1076"/>
          <ac:spMkLst>
            <pc:docMk/>
            <pc:sldMk cId="947559461" sldId="2147480461"/>
            <ac:spMk id="5" creationId="{14A88BCF-9352-A540-345D-D4C26E14DEBF}"/>
          </ac:spMkLst>
        </pc:spChg>
        <pc:spChg chg="mod">
          <ac:chgData name="Kanagasundaram, Senthil" userId="ad0514d2-f5b9-46b6-980a-a8b5153a9916" providerId="ADAL" clId="{38506DFD-4B25-4139-A22B-6C8A840DF91F}" dt="2025-06-15T12:22:36.623" v="7121" actId="554"/>
          <ac:spMkLst>
            <pc:docMk/>
            <pc:sldMk cId="947559461" sldId="2147480461"/>
            <ac:spMk id="6" creationId="{C7AB02ED-6B99-D130-88DA-D3AE5E8812C4}"/>
          </ac:spMkLst>
        </pc:spChg>
        <pc:spChg chg="add mod">
          <ac:chgData name="Kanagasundaram, Senthil" userId="ad0514d2-f5b9-46b6-980a-a8b5153a9916" providerId="ADAL" clId="{38506DFD-4B25-4139-A22B-6C8A840DF91F}" dt="2025-06-09T05:29:36.182" v="18"/>
          <ac:spMkLst>
            <pc:docMk/>
            <pc:sldMk cId="947559461" sldId="2147480461"/>
            <ac:spMk id="7" creationId="{D2588997-8D04-7D76-332C-8023346A629B}"/>
          </ac:spMkLst>
        </pc:spChg>
        <pc:spChg chg="mod">
          <ac:chgData name="Kanagasundaram, Senthil" userId="ad0514d2-f5b9-46b6-980a-a8b5153a9916" providerId="ADAL" clId="{38506DFD-4B25-4139-A22B-6C8A840DF91F}" dt="2025-06-15T12:22:25.497" v="7119" actId="1036"/>
          <ac:spMkLst>
            <pc:docMk/>
            <pc:sldMk cId="947559461" sldId="2147480461"/>
            <ac:spMk id="8" creationId="{BA657787-4731-0A0C-9EFF-BF32F828B6E8}"/>
          </ac:spMkLst>
        </pc:spChg>
        <pc:spChg chg="mod">
          <ac:chgData name="Kanagasundaram, Senthil" userId="ad0514d2-f5b9-46b6-980a-a8b5153a9916" providerId="ADAL" clId="{38506DFD-4B25-4139-A22B-6C8A840DF91F}" dt="2025-06-15T12:22:36.623" v="7121" actId="554"/>
          <ac:spMkLst>
            <pc:docMk/>
            <pc:sldMk cId="947559461" sldId="2147480461"/>
            <ac:spMk id="10" creationId="{8D61C51C-1B86-64A2-850D-2523E0447588}"/>
          </ac:spMkLst>
        </pc:spChg>
      </pc:sldChg>
      <pc:sldChg chg="addSp delSp modSp mod">
        <pc:chgData name="Kanagasundaram, Senthil" userId="ad0514d2-f5b9-46b6-980a-a8b5153a9916" providerId="ADAL" clId="{38506DFD-4B25-4139-A22B-6C8A840DF91F}" dt="2025-06-15T12:28:04.473" v="7141" actId="552"/>
        <pc:sldMkLst>
          <pc:docMk/>
          <pc:sldMk cId="3624467906" sldId="2147480462"/>
        </pc:sldMkLst>
        <pc:spChg chg="mod">
          <ac:chgData name="Kanagasundaram, Senthil" userId="ad0514d2-f5b9-46b6-980a-a8b5153a9916" providerId="ADAL" clId="{38506DFD-4B25-4139-A22B-6C8A840DF91F}" dt="2025-06-15T12:28:04.473" v="7141" actId="552"/>
          <ac:spMkLst>
            <pc:docMk/>
            <pc:sldMk cId="3624467906" sldId="2147480462"/>
            <ac:spMk id="4" creationId="{D00745B2-75A1-0AC8-4C39-5618D6FF5C1B}"/>
          </ac:spMkLst>
        </pc:spChg>
        <pc:spChg chg="mod">
          <ac:chgData name="Kanagasundaram, Senthil" userId="ad0514d2-f5b9-46b6-980a-a8b5153a9916" providerId="ADAL" clId="{38506DFD-4B25-4139-A22B-6C8A840DF91F}" dt="2025-06-15T12:27:59.775" v="7140" actId="1038"/>
          <ac:spMkLst>
            <pc:docMk/>
            <pc:sldMk cId="3624467906" sldId="2147480462"/>
            <ac:spMk id="5" creationId="{14A88BCF-9352-A540-345D-D4C26E14DEBF}"/>
          </ac:spMkLst>
        </pc:spChg>
        <pc:spChg chg="mod">
          <ac:chgData name="Kanagasundaram, Senthil" userId="ad0514d2-f5b9-46b6-980a-a8b5153a9916" providerId="ADAL" clId="{38506DFD-4B25-4139-A22B-6C8A840DF91F}" dt="2025-06-15T12:27:59.775" v="7140" actId="1038"/>
          <ac:spMkLst>
            <pc:docMk/>
            <pc:sldMk cId="3624467906" sldId="2147480462"/>
            <ac:spMk id="6" creationId="{C7AB02ED-6B99-D130-88DA-D3AE5E8812C4}"/>
          </ac:spMkLst>
        </pc:spChg>
        <pc:spChg chg="add mod">
          <ac:chgData name="Kanagasundaram, Senthil" userId="ad0514d2-f5b9-46b6-980a-a8b5153a9916" providerId="ADAL" clId="{38506DFD-4B25-4139-A22B-6C8A840DF91F}" dt="2025-06-09T05:29:43.368" v="19"/>
          <ac:spMkLst>
            <pc:docMk/>
            <pc:sldMk cId="3624467906" sldId="2147480462"/>
            <ac:spMk id="7" creationId="{5E67F39C-9776-47A8-DC78-4191B09B484E}"/>
          </ac:spMkLst>
        </pc:spChg>
        <pc:spChg chg="mod">
          <ac:chgData name="Kanagasundaram, Senthil" userId="ad0514d2-f5b9-46b6-980a-a8b5153a9916" providerId="ADAL" clId="{38506DFD-4B25-4139-A22B-6C8A840DF91F}" dt="2025-06-15T12:28:04.473" v="7141" actId="552"/>
          <ac:spMkLst>
            <pc:docMk/>
            <pc:sldMk cId="3624467906" sldId="2147480462"/>
            <ac:spMk id="10" creationId="{8D61C51C-1B86-64A2-850D-2523E0447588}"/>
          </ac:spMkLst>
        </pc:spChg>
      </pc:sldChg>
      <pc:sldChg chg="addSp delSp modSp mod">
        <pc:chgData name="Kanagasundaram, Senthil" userId="ad0514d2-f5b9-46b6-980a-a8b5153a9916" providerId="ADAL" clId="{38506DFD-4B25-4139-A22B-6C8A840DF91F}" dt="2025-06-15T13:42:19.690" v="7307" actId="20577"/>
        <pc:sldMkLst>
          <pc:docMk/>
          <pc:sldMk cId="4040021221" sldId="2147480463"/>
        </pc:sldMkLst>
        <pc:spChg chg="mod">
          <ac:chgData name="Kanagasundaram, Senthil" userId="ad0514d2-f5b9-46b6-980a-a8b5153a9916" providerId="ADAL" clId="{38506DFD-4B25-4139-A22B-6C8A840DF91F}" dt="2025-06-15T12:35:40.508" v="7179" actId="552"/>
          <ac:spMkLst>
            <pc:docMk/>
            <pc:sldMk cId="4040021221" sldId="2147480463"/>
            <ac:spMk id="4" creationId="{D00745B2-75A1-0AC8-4C39-5618D6FF5C1B}"/>
          </ac:spMkLst>
        </pc:spChg>
        <pc:spChg chg="mod">
          <ac:chgData name="Kanagasundaram, Senthil" userId="ad0514d2-f5b9-46b6-980a-a8b5153a9916" providerId="ADAL" clId="{38506DFD-4B25-4139-A22B-6C8A840DF91F}" dt="2025-06-15T13:40:32.900" v="7277" actId="20577"/>
          <ac:spMkLst>
            <pc:docMk/>
            <pc:sldMk cId="4040021221" sldId="2147480463"/>
            <ac:spMk id="5" creationId="{14A88BCF-9352-A540-345D-D4C26E14DEBF}"/>
          </ac:spMkLst>
        </pc:spChg>
        <pc:spChg chg="mod">
          <ac:chgData name="Kanagasundaram, Senthil" userId="ad0514d2-f5b9-46b6-980a-a8b5153a9916" providerId="ADAL" clId="{38506DFD-4B25-4139-A22B-6C8A840DF91F}" dt="2025-06-15T12:35:36.663" v="7178" actId="552"/>
          <ac:spMkLst>
            <pc:docMk/>
            <pc:sldMk cId="4040021221" sldId="2147480463"/>
            <ac:spMk id="6" creationId="{C7AB02ED-6B99-D130-88DA-D3AE5E8812C4}"/>
          </ac:spMkLst>
        </pc:spChg>
        <pc:spChg chg="add mod">
          <ac:chgData name="Kanagasundaram, Senthil" userId="ad0514d2-f5b9-46b6-980a-a8b5153a9916" providerId="ADAL" clId="{38506DFD-4B25-4139-A22B-6C8A840DF91F}" dt="2025-06-09T05:30:04.373" v="30" actId="20577"/>
          <ac:spMkLst>
            <pc:docMk/>
            <pc:sldMk cId="4040021221" sldId="2147480463"/>
            <ac:spMk id="7" creationId="{3A13A69F-C315-08AC-9EF5-267C6C5B4DAA}"/>
          </ac:spMkLst>
        </pc:spChg>
        <pc:spChg chg="mod">
          <ac:chgData name="Kanagasundaram, Senthil" userId="ad0514d2-f5b9-46b6-980a-a8b5153a9916" providerId="ADAL" clId="{38506DFD-4B25-4139-A22B-6C8A840DF91F}" dt="2025-06-15T13:42:19.690" v="7307" actId="20577"/>
          <ac:spMkLst>
            <pc:docMk/>
            <pc:sldMk cId="4040021221" sldId="2147480463"/>
            <ac:spMk id="10" creationId="{8D61C51C-1B86-64A2-850D-2523E0447588}"/>
          </ac:spMkLst>
        </pc:spChg>
      </pc:sldChg>
      <pc:sldChg chg="addSp modSp mod">
        <pc:chgData name="Kanagasundaram, Senthil" userId="ad0514d2-f5b9-46b6-980a-a8b5153a9916" providerId="ADAL" clId="{38506DFD-4B25-4139-A22B-6C8A840DF91F}" dt="2025-06-15T12:43:01.886" v="7244" actId="20577"/>
        <pc:sldMkLst>
          <pc:docMk/>
          <pc:sldMk cId="4226244808" sldId="2147480464"/>
        </pc:sldMkLst>
        <pc:spChg chg="mod">
          <ac:chgData name="Kanagasundaram, Senthil" userId="ad0514d2-f5b9-46b6-980a-a8b5153a9916" providerId="ADAL" clId="{38506DFD-4B25-4139-A22B-6C8A840DF91F}" dt="2025-06-15T12:37:21.198" v="7195" actId="1036"/>
          <ac:spMkLst>
            <pc:docMk/>
            <pc:sldMk cId="4226244808" sldId="2147480464"/>
            <ac:spMk id="4" creationId="{C578ACA3-AADC-8C02-A715-D5F3074BF440}"/>
          </ac:spMkLst>
        </pc:spChg>
        <pc:spChg chg="mod">
          <ac:chgData name="Kanagasundaram, Senthil" userId="ad0514d2-f5b9-46b6-980a-a8b5153a9916" providerId="ADAL" clId="{38506DFD-4B25-4139-A22B-6C8A840DF91F}" dt="2025-06-15T12:37:21.198" v="7195" actId="1036"/>
          <ac:spMkLst>
            <pc:docMk/>
            <pc:sldMk cId="4226244808" sldId="2147480464"/>
            <ac:spMk id="5" creationId="{0F52009C-203E-F9D1-5093-44B75552C131}"/>
          </ac:spMkLst>
        </pc:spChg>
        <pc:spChg chg="mod">
          <ac:chgData name="Kanagasundaram, Senthil" userId="ad0514d2-f5b9-46b6-980a-a8b5153a9916" providerId="ADAL" clId="{38506DFD-4B25-4139-A22B-6C8A840DF91F}" dt="2025-06-15T12:37:21.198" v="7195" actId="1036"/>
          <ac:spMkLst>
            <pc:docMk/>
            <pc:sldMk cId="4226244808" sldId="2147480464"/>
            <ac:spMk id="6" creationId="{5BB1876E-8859-3EDE-E884-7999A7F95D48}"/>
          </ac:spMkLst>
        </pc:spChg>
        <pc:spChg chg="add mod">
          <ac:chgData name="Kanagasundaram, Senthil" userId="ad0514d2-f5b9-46b6-980a-a8b5153a9916" providerId="ADAL" clId="{38506DFD-4B25-4139-A22B-6C8A840DF91F}" dt="2025-06-15T12:43:01.886" v="7244" actId="20577"/>
          <ac:spMkLst>
            <pc:docMk/>
            <pc:sldMk cId="4226244808" sldId="2147480464"/>
            <ac:spMk id="7" creationId="{F6800EA9-D425-9478-039B-6ED3250E9F6A}"/>
          </ac:spMkLst>
        </pc:spChg>
        <pc:spChg chg="mod">
          <ac:chgData name="Kanagasundaram, Senthil" userId="ad0514d2-f5b9-46b6-980a-a8b5153a9916" providerId="ADAL" clId="{38506DFD-4B25-4139-A22B-6C8A840DF91F}" dt="2025-06-15T12:37:21.198" v="7195" actId="1036"/>
          <ac:spMkLst>
            <pc:docMk/>
            <pc:sldMk cId="4226244808" sldId="2147480464"/>
            <ac:spMk id="9" creationId="{1AC189B4-F73A-5839-D077-63290EE73F94}"/>
          </ac:spMkLst>
        </pc:spChg>
        <pc:spChg chg="add mod">
          <ac:chgData name="Kanagasundaram, Senthil" userId="ad0514d2-f5b9-46b6-980a-a8b5153a9916" providerId="ADAL" clId="{38506DFD-4B25-4139-A22B-6C8A840DF91F}" dt="2025-06-09T10:14:33.766" v="3144"/>
          <ac:spMkLst>
            <pc:docMk/>
            <pc:sldMk cId="4226244808" sldId="2147480464"/>
            <ac:spMk id="10" creationId="{08B48D8E-8C67-AE9D-CF36-75C533AF6625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12:39:48.643" v="7214" actId="20577"/>
        <pc:sldMkLst>
          <pc:docMk/>
          <pc:sldMk cId="1945129991" sldId="2147480465"/>
        </pc:sldMkLst>
        <pc:spChg chg="mod">
          <ac:chgData name="Kanagasundaram, Senthil" userId="ad0514d2-f5b9-46b6-980a-a8b5153a9916" providerId="ADAL" clId="{38506DFD-4B25-4139-A22B-6C8A840DF91F}" dt="2025-06-15T12:38:51.237" v="7210" actId="552"/>
          <ac:spMkLst>
            <pc:docMk/>
            <pc:sldMk cId="1945129991" sldId="2147480465"/>
            <ac:spMk id="4" creationId="{C578ACA3-AADC-8C02-A715-D5F3074BF440}"/>
          </ac:spMkLst>
        </pc:spChg>
        <pc:spChg chg="mod">
          <ac:chgData name="Kanagasundaram, Senthil" userId="ad0514d2-f5b9-46b6-980a-a8b5153a9916" providerId="ADAL" clId="{38506DFD-4B25-4139-A22B-6C8A840DF91F}" dt="2025-06-15T12:38:47.482" v="7208" actId="552"/>
          <ac:spMkLst>
            <pc:docMk/>
            <pc:sldMk cId="1945129991" sldId="2147480465"/>
            <ac:spMk id="5" creationId="{0F52009C-203E-F9D1-5093-44B75552C131}"/>
          </ac:spMkLst>
        </pc:spChg>
        <pc:spChg chg="mod">
          <ac:chgData name="Kanagasundaram, Senthil" userId="ad0514d2-f5b9-46b6-980a-a8b5153a9916" providerId="ADAL" clId="{38506DFD-4B25-4139-A22B-6C8A840DF91F}" dt="2025-06-15T12:39:48.643" v="7214" actId="20577"/>
          <ac:spMkLst>
            <pc:docMk/>
            <pc:sldMk cId="1945129991" sldId="2147480465"/>
            <ac:spMk id="6" creationId="{5BB1876E-8859-3EDE-E884-7999A7F95D48}"/>
          </ac:spMkLst>
        </pc:spChg>
        <pc:spChg chg="add mod">
          <ac:chgData name="Kanagasundaram, Senthil" userId="ad0514d2-f5b9-46b6-980a-a8b5153a9916" providerId="ADAL" clId="{38506DFD-4B25-4139-A22B-6C8A840DF91F}" dt="2025-06-09T05:30:18.303" v="32"/>
          <ac:spMkLst>
            <pc:docMk/>
            <pc:sldMk cId="1945129991" sldId="2147480465"/>
            <ac:spMk id="7" creationId="{42D6EF6F-9DED-7D2E-7714-CCCA10952A5F}"/>
          </ac:spMkLst>
        </pc:spChg>
        <pc:spChg chg="mod">
          <ac:chgData name="Kanagasundaram, Senthil" userId="ad0514d2-f5b9-46b6-980a-a8b5153a9916" providerId="ADAL" clId="{38506DFD-4B25-4139-A22B-6C8A840DF91F}" dt="2025-06-15T12:38:51.237" v="7210" actId="552"/>
          <ac:spMkLst>
            <pc:docMk/>
            <pc:sldMk cId="1945129991" sldId="2147480465"/>
            <ac:spMk id="9" creationId="{1AC189B4-F73A-5839-D077-63290EE73F94}"/>
          </ac:spMkLst>
        </pc:spChg>
        <pc:spChg chg="add del mod">
          <ac:chgData name="Kanagasundaram, Senthil" userId="ad0514d2-f5b9-46b6-980a-a8b5153a9916" providerId="ADAL" clId="{38506DFD-4B25-4139-A22B-6C8A840DF91F}" dt="2025-06-14T07:08:31.284" v="4663" actId="478"/>
          <ac:spMkLst>
            <pc:docMk/>
            <pc:sldMk cId="1945129991" sldId="2147480465"/>
            <ac:spMk id="10" creationId="{66EBB760-5FC5-AB5C-DF19-383B676E8BC8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13:53:18.873" v="7314" actId="478"/>
        <pc:sldMkLst>
          <pc:docMk/>
          <pc:sldMk cId="3674716254" sldId="2147480466"/>
        </pc:sldMkLst>
        <pc:spChg chg="mod">
          <ac:chgData name="Kanagasundaram, Senthil" userId="ad0514d2-f5b9-46b6-980a-a8b5153a9916" providerId="ADAL" clId="{38506DFD-4B25-4139-A22B-6C8A840DF91F}" dt="2025-06-15T12:40:23.110" v="7236" actId="552"/>
          <ac:spMkLst>
            <pc:docMk/>
            <pc:sldMk cId="3674716254" sldId="2147480466"/>
            <ac:spMk id="4" creationId="{C578ACA3-AADC-8C02-A715-D5F3074BF440}"/>
          </ac:spMkLst>
        </pc:spChg>
        <pc:spChg chg="mod">
          <ac:chgData name="Kanagasundaram, Senthil" userId="ad0514d2-f5b9-46b6-980a-a8b5153a9916" providerId="ADAL" clId="{38506DFD-4B25-4139-A22B-6C8A840DF91F}" dt="2025-06-15T12:40:19.378" v="7235" actId="552"/>
          <ac:spMkLst>
            <pc:docMk/>
            <pc:sldMk cId="3674716254" sldId="2147480466"/>
            <ac:spMk id="5" creationId="{0F52009C-203E-F9D1-5093-44B75552C131}"/>
          </ac:spMkLst>
        </pc:spChg>
        <pc:spChg chg="mod">
          <ac:chgData name="Kanagasundaram, Senthil" userId="ad0514d2-f5b9-46b6-980a-a8b5153a9916" providerId="ADAL" clId="{38506DFD-4B25-4139-A22B-6C8A840DF91F}" dt="2025-06-15T12:40:19.378" v="7235" actId="552"/>
          <ac:spMkLst>
            <pc:docMk/>
            <pc:sldMk cId="3674716254" sldId="2147480466"/>
            <ac:spMk id="6" creationId="{5BB1876E-8859-3EDE-E884-7999A7F95D48}"/>
          </ac:spMkLst>
        </pc:spChg>
        <pc:spChg chg="add mod">
          <ac:chgData name="Kanagasundaram, Senthil" userId="ad0514d2-f5b9-46b6-980a-a8b5153a9916" providerId="ADAL" clId="{38506DFD-4B25-4139-A22B-6C8A840DF91F}" dt="2025-06-15T12:43:31.441" v="7252" actId="20577"/>
          <ac:spMkLst>
            <pc:docMk/>
            <pc:sldMk cId="3674716254" sldId="2147480466"/>
            <ac:spMk id="7" creationId="{FC243E99-7380-7B94-EED5-85BA33806371}"/>
          </ac:spMkLst>
        </pc:spChg>
        <pc:spChg chg="mod">
          <ac:chgData name="Kanagasundaram, Senthil" userId="ad0514d2-f5b9-46b6-980a-a8b5153a9916" providerId="ADAL" clId="{38506DFD-4B25-4139-A22B-6C8A840DF91F}" dt="2025-06-15T13:52:52.130" v="7313" actId="20577"/>
          <ac:spMkLst>
            <pc:docMk/>
            <pc:sldMk cId="3674716254" sldId="2147480466"/>
            <ac:spMk id="9" creationId="{1AC189B4-F73A-5839-D077-63290EE73F94}"/>
          </ac:spMkLst>
        </pc:spChg>
        <pc:spChg chg="add del mod">
          <ac:chgData name="Kanagasundaram, Senthil" userId="ad0514d2-f5b9-46b6-980a-a8b5153a9916" providerId="ADAL" clId="{38506DFD-4B25-4139-A22B-6C8A840DF91F}" dt="2025-06-15T13:53:18.873" v="7314" actId="478"/>
          <ac:spMkLst>
            <pc:docMk/>
            <pc:sldMk cId="3674716254" sldId="2147480466"/>
            <ac:spMk id="10" creationId="{1D325AFE-BD6A-04B3-08FE-2B02733C2728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12:41:29.186" v="7237" actId="554"/>
        <pc:sldMkLst>
          <pc:docMk/>
          <pc:sldMk cId="603857953" sldId="2147480467"/>
        </pc:sldMkLst>
        <pc:spChg chg="mod">
          <ac:chgData name="Kanagasundaram, Senthil" userId="ad0514d2-f5b9-46b6-980a-a8b5153a9916" providerId="ADAL" clId="{38506DFD-4B25-4139-A22B-6C8A840DF91F}" dt="2025-06-13T03:13:15.309" v="4329"/>
          <ac:spMkLst>
            <pc:docMk/>
            <pc:sldMk cId="603857953" sldId="2147480467"/>
            <ac:spMk id="4" creationId="{C578ACA3-AADC-8C02-A715-D5F3074BF440}"/>
          </ac:spMkLst>
        </pc:spChg>
        <pc:spChg chg="mod">
          <ac:chgData name="Kanagasundaram, Senthil" userId="ad0514d2-f5b9-46b6-980a-a8b5153a9916" providerId="ADAL" clId="{38506DFD-4B25-4139-A22B-6C8A840DF91F}" dt="2025-06-15T12:41:29.186" v="7237" actId="554"/>
          <ac:spMkLst>
            <pc:docMk/>
            <pc:sldMk cId="603857953" sldId="2147480467"/>
            <ac:spMk id="6" creationId="{5BB1876E-8859-3EDE-E884-7999A7F95D48}"/>
          </ac:spMkLst>
        </pc:spChg>
        <pc:spChg chg="add mod">
          <ac:chgData name="Kanagasundaram, Senthil" userId="ad0514d2-f5b9-46b6-980a-a8b5153a9916" providerId="ADAL" clId="{38506DFD-4B25-4139-A22B-6C8A840DF91F}" dt="2025-06-09T05:30:26.193" v="34"/>
          <ac:spMkLst>
            <pc:docMk/>
            <pc:sldMk cId="603857953" sldId="2147480467"/>
            <ac:spMk id="7" creationId="{768C0F0F-9246-B8B8-CB10-11CA81D55677}"/>
          </ac:spMkLst>
        </pc:spChg>
        <pc:spChg chg="mod">
          <ac:chgData name="Kanagasundaram, Senthil" userId="ad0514d2-f5b9-46b6-980a-a8b5153a9916" providerId="ADAL" clId="{38506DFD-4B25-4139-A22B-6C8A840DF91F}" dt="2025-06-15T12:41:29.186" v="7237" actId="554"/>
          <ac:spMkLst>
            <pc:docMk/>
            <pc:sldMk cId="603857953" sldId="2147480467"/>
            <ac:spMk id="9" creationId="{1AC189B4-F73A-5839-D077-63290EE73F94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12:06:32.998" v="7008" actId="6549"/>
        <pc:sldMkLst>
          <pc:docMk/>
          <pc:sldMk cId="2610379268" sldId="2147480468"/>
        </pc:sldMkLst>
        <pc:spChg chg="mod">
          <ac:chgData name="Kanagasundaram, Senthil" userId="ad0514d2-f5b9-46b6-980a-a8b5153a9916" providerId="ADAL" clId="{38506DFD-4B25-4139-A22B-6C8A840DF91F}" dt="2025-06-15T12:04:24.123" v="7006" actId="20577"/>
          <ac:spMkLst>
            <pc:docMk/>
            <pc:sldMk cId="2610379268" sldId="2147480468"/>
            <ac:spMk id="4" creationId="{C578ACA3-AADC-8C02-A715-D5F3074BF440}"/>
          </ac:spMkLst>
        </pc:spChg>
        <pc:spChg chg="mod">
          <ac:chgData name="Kanagasundaram, Senthil" userId="ad0514d2-f5b9-46b6-980a-a8b5153a9916" providerId="ADAL" clId="{38506DFD-4B25-4139-A22B-6C8A840DF91F}" dt="2025-06-15T12:01:08.681" v="6961" actId="14100"/>
          <ac:spMkLst>
            <pc:docMk/>
            <pc:sldMk cId="2610379268" sldId="2147480468"/>
            <ac:spMk id="5" creationId="{0F52009C-203E-F9D1-5093-44B75552C131}"/>
          </ac:spMkLst>
        </pc:spChg>
        <pc:spChg chg="mod">
          <ac:chgData name="Kanagasundaram, Senthil" userId="ad0514d2-f5b9-46b6-980a-a8b5153a9916" providerId="ADAL" clId="{38506DFD-4B25-4139-A22B-6C8A840DF91F}" dt="2025-06-15T11:59:41.521" v="6948" actId="1076"/>
          <ac:spMkLst>
            <pc:docMk/>
            <pc:sldMk cId="2610379268" sldId="2147480468"/>
            <ac:spMk id="6" creationId="{5BB1876E-8859-3EDE-E884-7999A7F95D48}"/>
          </ac:spMkLst>
        </pc:spChg>
        <pc:spChg chg="add mod">
          <ac:chgData name="Kanagasundaram, Senthil" userId="ad0514d2-f5b9-46b6-980a-a8b5153a9916" providerId="ADAL" clId="{38506DFD-4B25-4139-A22B-6C8A840DF91F}" dt="2025-06-09T05:30:31.030" v="35"/>
          <ac:spMkLst>
            <pc:docMk/>
            <pc:sldMk cId="2610379268" sldId="2147480468"/>
            <ac:spMk id="7" creationId="{1004C803-C14E-A457-626F-4949F783A1DC}"/>
          </ac:spMkLst>
        </pc:spChg>
        <pc:spChg chg="mod">
          <ac:chgData name="Kanagasundaram, Senthil" userId="ad0514d2-f5b9-46b6-980a-a8b5153a9916" providerId="ADAL" clId="{38506DFD-4B25-4139-A22B-6C8A840DF91F}" dt="2025-06-15T11:59:41.521" v="6948" actId="1076"/>
          <ac:spMkLst>
            <pc:docMk/>
            <pc:sldMk cId="2610379268" sldId="2147480468"/>
            <ac:spMk id="9" creationId="{1AC189B4-F73A-5839-D077-63290EE73F94}"/>
          </ac:spMkLst>
        </pc:spChg>
        <pc:spChg chg="add del mod">
          <ac:chgData name="Kanagasundaram, Senthil" userId="ad0514d2-f5b9-46b6-980a-a8b5153a9916" providerId="ADAL" clId="{38506DFD-4B25-4139-A22B-6C8A840DF91F}" dt="2025-06-15T12:00:22.607" v="6960" actId="478"/>
          <ac:spMkLst>
            <pc:docMk/>
            <pc:sldMk cId="2610379268" sldId="2147480468"/>
            <ac:spMk id="10" creationId="{A733C360-D448-D399-2447-C9D7C55FBE01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11:51:06.658" v="6928" actId="20577"/>
        <pc:sldMkLst>
          <pc:docMk/>
          <pc:sldMk cId="546545660" sldId="2147480469"/>
        </pc:sldMkLst>
        <pc:spChg chg="mod">
          <ac:chgData name="Kanagasundaram, Senthil" userId="ad0514d2-f5b9-46b6-980a-a8b5153a9916" providerId="ADAL" clId="{38506DFD-4B25-4139-A22B-6C8A840DF91F}" dt="2025-06-15T11:38:07.712" v="6811" actId="1035"/>
          <ac:spMkLst>
            <pc:docMk/>
            <pc:sldMk cId="546545660" sldId="2147480469"/>
            <ac:spMk id="3" creationId="{0776A742-ED51-E6F5-3285-DC78BC764C31}"/>
          </ac:spMkLst>
        </pc:spChg>
        <pc:spChg chg="mod">
          <ac:chgData name="Kanagasundaram, Senthil" userId="ad0514d2-f5b9-46b6-980a-a8b5153a9916" providerId="ADAL" clId="{38506DFD-4B25-4139-A22B-6C8A840DF91F}" dt="2025-06-15T11:51:06.658" v="6928" actId="20577"/>
          <ac:spMkLst>
            <pc:docMk/>
            <pc:sldMk cId="546545660" sldId="2147480469"/>
            <ac:spMk id="4" creationId="{7AE65DB9-A4EB-6B6E-707D-C817255EDDE5}"/>
          </ac:spMkLst>
        </pc:spChg>
        <pc:spChg chg="mod">
          <ac:chgData name="Kanagasundaram, Senthil" userId="ad0514d2-f5b9-46b6-980a-a8b5153a9916" providerId="ADAL" clId="{38506DFD-4B25-4139-A22B-6C8A840DF91F}" dt="2025-06-15T11:38:15.152" v="6834" actId="1036"/>
          <ac:spMkLst>
            <pc:docMk/>
            <pc:sldMk cId="546545660" sldId="2147480469"/>
            <ac:spMk id="5" creationId="{7646DAAB-53F2-FFD5-3673-0CE674219B3D}"/>
          </ac:spMkLst>
        </pc:spChg>
        <pc:spChg chg="mod">
          <ac:chgData name="Kanagasundaram, Senthil" userId="ad0514d2-f5b9-46b6-980a-a8b5153a9916" providerId="ADAL" clId="{38506DFD-4B25-4139-A22B-6C8A840DF91F}" dt="2025-06-15T11:44:05.975" v="6856" actId="20577"/>
          <ac:spMkLst>
            <pc:docMk/>
            <pc:sldMk cId="546545660" sldId="2147480469"/>
            <ac:spMk id="6" creationId="{BFB94195-9FCD-6EA1-535D-EDA0833E3710}"/>
          </ac:spMkLst>
        </pc:spChg>
        <pc:spChg chg="mod">
          <ac:chgData name="Kanagasundaram, Senthil" userId="ad0514d2-f5b9-46b6-980a-a8b5153a9916" providerId="ADAL" clId="{38506DFD-4B25-4139-A22B-6C8A840DF91F}" dt="2025-06-15T11:38:07.712" v="6811" actId="1035"/>
          <ac:spMkLst>
            <pc:docMk/>
            <pc:sldMk cId="546545660" sldId="2147480469"/>
            <ac:spMk id="8" creationId="{B55FEE8F-1331-56C1-9BBA-8FDB4ED6AA79}"/>
          </ac:spMkLst>
        </pc:spChg>
        <pc:spChg chg="mod">
          <ac:chgData name="Kanagasundaram, Senthil" userId="ad0514d2-f5b9-46b6-980a-a8b5153a9916" providerId="ADAL" clId="{38506DFD-4B25-4139-A22B-6C8A840DF91F}" dt="2025-06-15T11:38:21.243" v="6849" actId="1035"/>
          <ac:spMkLst>
            <pc:docMk/>
            <pc:sldMk cId="546545660" sldId="2147480469"/>
            <ac:spMk id="9" creationId="{836B00D9-77ED-78EB-1051-52BEA7CA2B7D}"/>
          </ac:spMkLst>
        </pc:spChg>
        <pc:spChg chg="mod">
          <ac:chgData name="Kanagasundaram, Senthil" userId="ad0514d2-f5b9-46b6-980a-a8b5153a9916" providerId="ADAL" clId="{38506DFD-4B25-4139-A22B-6C8A840DF91F}" dt="2025-06-15T11:44:25.497" v="6857" actId="1076"/>
          <ac:spMkLst>
            <pc:docMk/>
            <pc:sldMk cId="546545660" sldId="2147480469"/>
            <ac:spMk id="10" creationId="{9728AF34-E18A-2767-DAE5-2341FAC64F9E}"/>
          </ac:spMkLst>
        </pc:spChg>
        <pc:spChg chg="add del mod">
          <ac:chgData name="Kanagasundaram, Senthil" userId="ad0514d2-f5b9-46b6-980a-a8b5153a9916" providerId="ADAL" clId="{38506DFD-4B25-4139-A22B-6C8A840DF91F}" dt="2025-06-15T11:38:25.332" v="6850" actId="478"/>
          <ac:spMkLst>
            <pc:docMk/>
            <pc:sldMk cId="546545660" sldId="2147480469"/>
            <ac:spMk id="11" creationId="{280906C4-84E5-1C59-3799-F906DBFA9022}"/>
          </ac:spMkLst>
        </pc:spChg>
      </pc:sldChg>
      <pc:sldChg chg="addSp delSp modSp mod">
        <pc:chgData name="Kanagasundaram, Senthil" userId="ad0514d2-f5b9-46b6-980a-a8b5153a9916" providerId="ADAL" clId="{38506DFD-4B25-4139-A22B-6C8A840DF91F}" dt="2025-06-15T11:19:53.335" v="6736" actId="478"/>
        <pc:sldMkLst>
          <pc:docMk/>
          <pc:sldMk cId="1309940497" sldId="2147480470"/>
        </pc:sldMkLst>
        <pc:spChg chg="mod">
          <ac:chgData name="Kanagasundaram, Senthil" userId="ad0514d2-f5b9-46b6-980a-a8b5153a9916" providerId="ADAL" clId="{38506DFD-4B25-4139-A22B-6C8A840DF91F}" dt="2025-06-15T11:18:11.373" v="6716" actId="552"/>
          <ac:spMkLst>
            <pc:docMk/>
            <pc:sldMk cId="1309940497" sldId="2147480470"/>
            <ac:spMk id="4" creationId="{7AE65DB9-A4EB-6B6E-707D-C817255EDDE5}"/>
          </ac:spMkLst>
        </pc:spChg>
        <pc:spChg chg="mod">
          <ac:chgData name="Kanagasundaram, Senthil" userId="ad0514d2-f5b9-46b6-980a-a8b5153a9916" providerId="ADAL" clId="{38506DFD-4B25-4139-A22B-6C8A840DF91F}" dt="2025-06-15T11:18:35.384" v="6734" actId="1038"/>
          <ac:spMkLst>
            <pc:docMk/>
            <pc:sldMk cId="1309940497" sldId="2147480470"/>
            <ac:spMk id="5" creationId="{7646DAAB-53F2-FFD5-3673-0CE674219B3D}"/>
          </ac:spMkLst>
        </pc:spChg>
        <pc:spChg chg="mod">
          <ac:chgData name="Kanagasundaram, Senthil" userId="ad0514d2-f5b9-46b6-980a-a8b5153a9916" providerId="ADAL" clId="{38506DFD-4B25-4139-A22B-6C8A840DF91F}" dt="2025-06-15T11:18:35.384" v="6734" actId="1038"/>
          <ac:spMkLst>
            <pc:docMk/>
            <pc:sldMk cId="1309940497" sldId="2147480470"/>
            <ac:spMk id="6" creationId="{BFB94195-9FCD-6EA1-535D-EDA0833E3710}"/>
          </ac:spMkLst>
        </pc:spChg>
        <pc:spChg chg="mod">
          <ac:chgData name="Kanagasundaram, Senthil" userId="ad0514d2-f5b9-46b6-980a-a8b5153a9916" providerId="ADAL" clId="{38506DFD-4B25-4139-A22B-6C8A840DF91F}" dt="2025-06-15T11:18:11.373" v="6716" actId="552"/>
          <ac:spMkLst>
            <pc:docMk/>
            <pc:sldMk cId="1309940497" sldId="2147480470"/>
            <ac:spMk id="9" creationId="{836B00D9-77ED-78EB-1051-52BEA7CA2B7D}"/>
          </ac:spMkLst>
        </pc:spChg>
        <pc:spChg chg="add del mod">
          <ac:chgData name="Kanagasundaram, Senthil" userId="ad0514d2-f5b9-46b6-980a-a8b5153a9916" providerId="ADAL" clId="{38506DFD-4B25-4139-A22B-6C8A840DF91F}" dt="2025-06-15T11:19:53.335" v="6736" actId="478"/>
          <ac:spMkLst>
            <pc:docMk/>
            <pc:sldMk cId="1309940497" sldId="2147480470"/>
            <ac:spMk id="10" creationId="{E9C58390-FF22-9A99-9830-3E6731579E64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10:31:49.584" v="6462"/>
        <pc:sldMkLst>
          <pc:docMk/>
          <pc:sldMk cId="2604174090" sldId="2147480471"/>
        </pc:sldMkLst>
        <pc:spChg chg="mod">
          <ac:chgData name="Kanagasundaram, Senthil" userId="ad0514d2-f5b9-46b6-980a-a8b5153a9916" providerId="ADAL" clId="{38506DFD-4B25-4139-A22B-6C8A840DF91F}" dt="2025-06-15T10:22:03.078" v="6395" actId="1035"/>
          <ac:spMkLst>
            <pc:docMk/>
            <pc:sldMk cId="2604174090" sldId="2147480471"/>
            <ac:spMk id="3" creationId="{0776A742-ED51-E6F5-3285-DC78BC764C31}"/>
          </ac:spMkLst>
        </pc:spChg>
        <pc:spChg chg="mod">
          <ac:chgData name="Kanagasundaram, Senthil" userId="ad0514d2-f5b9-46b6-980a-a8b5153a9916" providerId="ADAL" clId="{38506DFD-4B25-4139-A22B-6C8A840DF91F}" dt="2025-06-15T10:22:09.118" v="6396" actId="1076"/>
          <ac:spMkLst>
            <pc:docMk/>
            <pc:sldMk cId="2604174090" sldId="2147480471"/>
            <ac:spMk id="4" creationId="{7AE65DB9-A4EB-6B6E-707D-C817255EDDE5}"/>
          </ac:spMkLst>
        </pc:spChg>
        <pc:spChg chg="mod">
          <ac:chgData name="Kanagasundaram, Senthil" userId="ad0514d2-f5b9-46b6-980a-a8b5153a9916" providerId="ADAL" clId="{38506DFD-4B25-4139-A22B-6C8A840DF91F}" dt="2025-06-15T10:23:39.287" v="6406" actId="552"/>
          <ac:spMkLst>
            <pc:docMk/>
            <pc:sldMk cId="2604174090" sldId="2147480471"/>
            <ac:spMk id="5" creationId="{7646DAAB-53F2-FFD5-3673-0CE674219B3D}"/>
          </ac:spMkLst>
        </pc:spChg>
        <pc:spChg chg="mod">
          <ac:chgData name="Kanagasundaram, Senthil" userId="ad0514d2-f5b9-46b6-980a-a8b5153a9916" providerId="ADAL" clId="{38506DFD-4B25-4139-A22B-6C8A840DF91F}" dt="2025-06-15T10:23:39.287" v="6406" actId="552"/>
          <ac:spMkLst>
            <pc:docMk/>
            <pc:sldMk cId="2604174090" sldId="2147480471"/>
            <ac:spMk id="6" creationId="{BFB94195-9FCD-6EA1-535D-EDA0833E3710}"/>
          </ac:spMkLst>
        </pc:spChg>
        <pc:spChg chg="mod">
          <ac:chgData name="Kanagasundaram, Senthil" userId="ad0514d2-f5b9-46b6-980a-a8b5153a9916" providerId="ADAL" clId="{38506DFD-4B25-4139-A22B-6C8A840DF91F}" dt="2025-06-15T10:22:03.078" v="6395" actId="1035"/>
          <ac:spMkLst>
            <pc:docMk/>
            <pc:sldMk cId="2604174090" sldId="2147480471"/>
            <ac:spMk id="8" creationId="{B55FEE8F-1331-56C1-9BBA-8FDB4ED6AA79}"/>
          </ac:spMkLst>
        </pc:spChg>
        <pc:spChg chg="mod">
          <ac:chgData name="Kanagasundaram, Senthil" userId="ad0514d2-f5b9-46b6-980a-a8b5153a9916" providerId="ADAL" clId="{38506DFD-4B25-4139-A22B-6C8A840DF91F}" dt="2025-06-15T10:22:24.094" v="6398" actId="1076"/>
          <ac:spMkLst>
            <pc:docMk/>
            <pc:sldMk cId="2604174090" sldId="2147480471"/>
            <ac:spMk id="9" creationId="{836B00D9-77ED-78EB-1051-52BEA7CA2B7D}"/>
          </ac:spMkLst>
        </pc:spChg>
        <pc:spChg chg="add del mod">
          <ac:chgData name="Kanagasundaram, Senthil" userId="ad0514d2-f5b9-46b6-980a-a8b5153a9916" providerId="ADAL" clId="{38506DFD-4B25-4139-A22B-6C8A840DF91F}" dt="2025-06-14T08:28:59.074" v="4741" actId="478"/>
          <ac:spMkLst>
            <pc:docMk/>
            <pc:sldMk cId="2604174090" sldId="2147480471"/>
            <ac:spMk id="10" creationId="{06A3FB4C-0382-590D-DE98-AB1C2A417998}"/>
          </ac:spMkLst>
        </pc:spChg>
        <pc:spChg chg="add">
          <ac:chgData name="Kanagasundaram, Senthil" userId="ad0514d2-f5b9-46b6-980a-a8b5153a9916" providerId="ADAL" clId="{38506DFD-4B25-4139-A22B-6C8A840DF91F}" dt="2025-06-15T08:45:15.448" v="6323"/>
          <ac:spMkLst>
            <pc:docMk/>
            <pc:sldMk cId="2604174090" sldId="2147480471"/>
            <ac:spMk id="10" creationId="{54E395F5-DBE0-FFA6-00AA-226D67D3A827}"/>
          </ac:spMkLst>
        </pc:spChg>
        <pc:spChg chg="add mod">
          <ac:chgData name="Kanagasundaram, Senthil" userId="ad0514d2-f5b9-46b6-980a-a8b5153a9916" providerId="ADAL" clId="{38506DFD-4B25-4139-A22B-6C8A840DF91F}" dt="2025-06-15T10:31:49.584" v="6462"/>
          <ac:spMkLst>
            <pc:docMk/>
            <pc:sldMk cId="2604174090" sldId="2147480471"/>
            <ac:spMk id="11" creationId="{EC8BAB34-9D41-3E6C-4BA0-F4C1F4217EB2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10:31:58.283" v="6463"/>
        <pc:sldMkLst>
          <pc:docMk/>
          <pc:sldMk cId="3136865470" sldId="2147480472"/>
        </pc:sldMkLst>
        <pc:spChg chg="mod">
          <ac:chgData name="Kanagasundaram, Senthil" userId="ad0514d2-f5b9-46b6-980a-a8b5153a9916" providerId="ADAL" clId="{38506DFD-4B25-4139-A22B-6C8A840DF91F}" dt="2025-06-15T10:29:09.346" v="6459"/>
          <ac:spMkLst>
            <pc:docMk/>
            <pc:sldMk cId="3136865470" sldId="2147480472"/>
            <ac:spMk id="4" creationId="{7AE65DB9-A4EB-6B6E-707D-C817255EDDE5}"/>
          </ac:spMkLst>
        </pc:spChg>
        <pc:spChg chg="mod">
          <ac:chgData name="Kanagasundaram, Senthil" userId="ad0514d2-f5b9-46b6-980a-a8b5153a9916" providerId="ADAL" clId="{38506DFD-4B25-4139-A22B-6C8A840DF91F}" dt="2025-06-15T10:26:14.817" v="6430" actId="1038"/>
          <ac:spMkLst>
            <pc:docMk/>
            <pc:sldMk cId="3136865470" sldId="2147480472"/>
            <ac:spMk id="5" creationId="{7646DAAB-53F2-FFD5-3673-0CE674219B3D}"/>
          </ac:spMkLst>
        </pc:spChg>
        <pc:spChg chg="mod">
          <ac:chgData name="Kanagasundaram, Senthil" userId="ad0514d2-f5b9-46b6-980a-a8b5153a9916" providerId="ADAL" clId="{38506DFD-4B25-4139-A22B-6C8A840DF91F}" dt="2025-06-15T10:26:29.848" v="6451" actId="1035"/>
          <ac:spMkLst>
            <pc:docMk/>
            <pc:sldMk cId="3136865470" sldId="2147480472"/>
            <ac:spMk id="6" creationId="{BFB94195-9FCD-6EA1-535D-EDA0833E3710}"/>
          </ac:spMkLst>
        </pc:spChg>
        <pc:spChg chg="mod">
          <ac:chgData name="Kanagasundaram, Senthil" userId="ad0514d2-f5b9-46b6-980a-a8b5153a9916" providerId="ADAL" clId="{38506DFD-4B25-4139-A22B-6C8A840DF91F}" dt="2025-06-15T10:27:37.531" v="6457" actId="20577"/>
          <ac:spMkLst>
            <pc:docMk/>
            <pc:sldMk cId="3136865470" sldId="2147480472"/>
            <ac:spMk id="8" creationId="{B55FEE8F-1331-56C1-9BBA-8FDB4ED6AA79}"/>
          </ac:spMkLst>
        </pc:spChg>
        <pc:spChg chg="mod">
          <ac:chgData name="Kanagasundaram, Senthil" userId="ad0514d2-f5b9-46b6-980a-a8b5153a9916" providerId="ADAL" clId="{38506DFD-4B25-4139-A22B-6C8A840DF91F}" dt="2025-06-15T10:26:29.848" v="6451" actId="1035"/>
          <ac:spMkLst>
            <pc:docMk/>
            <pc:sldMk cId="3136865470" sldId="2147480472"/>
            <ac:spMk id="9" creationId="{836B00D9-77ED-78EB-1051-52BEA7CA2B7D}"/>
          </ac:spMkLst>
        </pc:spChg>
        <pc:spChg chg="add del mod">
          <ac:chgData name="Kanagasundaram, Senthil" userId="ad0514d2-f5b9-46b6-980a-a8b5153a9916" providerId="ADAL" clId="{38506DFD-4B25-4139-A22B-6C8A840DF91F}" dt="2025-06-15T10:24:07.001" v="6407" actId="478"/>
          <ac:spMkLst>
            <pc:docMk/>
            <pc:sldMk cId="3136865470" sldId="2147480472"/>
            <ac:spMk id="10" creationId="{E7EDD9F1-CB9F-BE60-70EE-AF80A1991CFC}"/>
          </ac:spMkLst>
        </pc:spChg>
        <pc:spChg chg="add">
          <ac:chgData name="Kanagasundaram, Senthil" userId="ad0514d2-f5b9-46b6-980a-a8b5153a9916" providerId="ADAL" clId="{38506DFD-4B25-4139-A22B-6C8A840DF91F}" dt="2025-06-15T10:24:52.474" v="6408"/>
          <ac:spMkLst>
            <pc:docMk/>
            <pc:sldMk cId="3136865470" sldId="2147480472"/>
            <ac:spMk id="11" creationId="{4055D69B-0154-C13E-7B5B-864267314EE2}"/>
          </ac:spMkLst>
        </pc:spChg>
        <pc:spChg chg="add mod">
          <ac:chgData name="Kanagasundaram, Senthil" userId="ad0514d2-f5b9-46b6-980a-a8b5153a9916" providerId="ADAL" clId="{38506DFD-4B25-4139-A22B-6C8A840DF91F}" dt="2025-06-15T10:31:58.283" v="6463"/>
          <ac:spMkLst>
            <pc:docMk/>
            <pc:sldMk cId="3136865470" sldId="2147480472"/>
            <ac:spMk id="12" creationId="{AF7B276B-A57C-2016-443C-EAE00B0851C5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10:46:49.376" v="6633" actId="6549"/>
        <pc:sldMkLst>
          <pc:docMk/>
          <pc:sldMk cId="2408742120" sldId="2147480473"/>
        </pc:sldMkLst>
        <pc:spChg chg="mod">
          <ac:chgData name="Kanagasundaram, Senthil" userId="ad0514d2-f5b9-46b6-980a-a8b5153a9916" providerId="ADAL" clId="{38506DFD-4B25-4139-A22B-6C8A840DF91F}" dt="2025-06-15T10:35:44.281" v="6471" actId="554"/>
          <ac:spMkLst>
            <pc:docMk/>
            <pc:sldMk cId="2408742120" sldId="2147480473"/>
            <ac:spMk id="4" creationId="{7AE65DB9-A4EB-6B6E-707D-C817255EDDE5}"/>
          </ac:spMkLst>
        </pc:spChg>
        <pc:spChg chg="mod">
          <ac:chgData name="Kanagasundaram, Senthil" userId="ad0514d2-f5b9-46b6-980a-a8b5153a9916" providerId="ADAL" clId="{38506DFD-4B25-4139-A22B-6C8A840DF91F}" dt="2025-06-15T10:35:44.281" v="6471" actId="554"/>
          <ac:spMkLst>
            <pc:docMk/>
            <pc:sldMk cId="2408742120" sldId="2147480473"/>
            <ac:spMk id="5" creationId="{7646DAAB-53F2-FFD5-3673-0CE674219B3D}"/>
          </ac:spMkLst>
        </pc:spChg>
        <pc:spChg chg="mod">
          <ac:chgData name="Kanagasundaram, Senthil" userId="ad0514d2-f5b9-46b6-980a-a8b5153a9916" providerId="ADAL" clId="{38506DFD-4B25-4139-A22B-6C8A840DF91F}" dt="2025-06-15T10:35:50.130" v="6472" actId="554"/>
          <ac:spMkLst>
            <pc:docMk/>
            <pc:sldMk cId="2408742120" sldId="2147480473"/>
            <ac:spMk id="6" creationId="{BFB94195-9FCD-6EA1-535D-EDA0833E3710}"/>
          </ac:spMkLst>
        </pc:spChg>
        <pc:spChg chg="mod">
          <ac:chgData name="Kanagasundaram, Senthil" userId="ad0514d2-f5b9-46b6-980a-a8b5153a9916" providerId="ADAL" clId="{38506DFD-4B25-4139-A22B-6C8A840DF91F}" dt="2025-06-15T10:35:24.021" v="6469" actId="20577"/>
          <ac:spMkLst>
            <pc:docMk/>
            <pc:sldMk cId="2408742120" sldId="2147480473"/>
            <ac:spMk id="8" creationId="{B55FEE8F-1331-56C1-9BBA-8FDB4ED6AA79}"/>
          </ac:spMkLst>
        </pc:spChg>
        <pc:spChg chg="mod">
          <ac:chgData name="Kanagasundaram, Senthil" userId="ad0514d2-f5b9-46b6-980a-a8b5153a9916" providerId="ADAL" clId="{38506DFD-4B25-4139-A22B-6C8A840DF91F}" dt="2025-06-15T10:39:24.733" v="6630" actId="20577"/>
          <ac:spMkLst>
            <pc:docMk/>
            <pc:sldMk cId="2408742120" sldId="2147480473"/>
            <ac:spMk id="9" creationId="{836B00D9-77ED-78EB-1051-52BEA7CA2B7D}"/>
          </ac:spMkLst>
        </pc:spChg>
        <pc:spChg chg="add del mod">
          <ac:chgData name="Kanagasundaram, Senthil" userId="ad0514d2-f5b9-46b6-980a-a8b5153a9916" providerId="ADAL" clId="{38506DFD-4B25-4139-A22B-6C8A840DF91F}" dt="2025-06-15T10:45:18.024" v="6631" actId="478"/>
          <ac:spMkLst>
            <pc:docMk/>
            <pc:sldMk cId="2408742120" sldId="2147480473"/>
            <ac:spMk id="10" creationId="{463CEBE5-0819-4CC4-5274-BDE1C71F9784}"/>
          </ac:spMkLst>
        </pc:spChg>
        <pc:spChg chg="add">
          <ac:chgData name="Kanagasundaram, Senthil" userId="ad0514d2-f5b9-46b6-980a-a8b5153a9916" providerId="ADAL" clId="{38506DFD-4B25-4139-A22B-6C8A840DF91F}" dt="2025-06-15T10:36:18.574" v="6473"/>
          <ac:spMkLst>
            <pc:docMk/>
            <pc:sldMk cId="2408742120" sldId="2147480473"/>
            <ac:spMk id="11" creationId="{36F1E5CF-3BE1-6210-9318-C4B843C98557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11:08:17.816" v="6702" actId="478"/>
        <pc:sldMkLst>
          <pc:docMk/>
          <pc:sldMk cId="1879566691" sldId="2147480474"/>
        </pc:sldMkLst>
        <pc:spChg chg="mod">
          <ac:chgData name="Kanagasundaram, Senthil" userId="ad0514d2-f5b9-46b6-980a-a8b5153a9916" providerId="ADAL" clId="{38506DFD-4B25-4139-A22B-6C8A840DF91F}" dt="2025-06-15T10:52:03.146" v="6645" actId="552"/>
          <ac:spMkLst>
            <pc:docMk/>
            <pc:sldMk cId="1879566691" sldId="2147480474"/>
            <ac:spMk id="4" creationId="{1AE62A3C-1005-CDC2-FE63-7952165D5625}"/>
          </ac:spMkLst>
        </pc:spChg>
        <pc:spChg chg="add del mod">
          <ac:chgData name="Kanagasundaram, Senthil" userId="ad0514d2-f5b9-46b6-980a-a8b5153a9916" providerId="ADAL" clId="{38506DFD-4B25-4139-A22B-6C8A840DF91F}" dt="2025-06-15T10:52:21.810" v="6647" actId="478"/>
          <ac:spMkLst>
            <pc:docMk/>
            <pc:sldMk cId="1879566691" sldId="2147480474"/>
            <ac:spMk id="5" creationId="{8DE9A4E6-063E-834F-F345-C33301D2D0C6}"/>
          </ac:spMkLst>
        </pc:spChg>
        <pc:spChg chg="mod">
          <ac:chgData name="Kanagasundaram, Senthil" userId="ad0514d2-f5b9-46b6-980a-a8b5153a9916" providerId="ADAL" clId="{38506DFD-4B25-4139-A22B-6C8A840DF91F}" dt="2025-06-15T10:52:07.319" v="6646" actId="552"/>
          <ac:spMkLst>
            <pc:docMk/>
            <pc:sldMk cId="1879566691" sldId="2147480474"/>
            <ac:spMk id="6" creationId="{6B487994-AED5-E8C5-3116-FCB4EA14330D}"/>
          </ac:spMkLst>
        </pc:spChg>
        <pc:spChg chg="add">
          <ac:chgData name="Kanagasundaram, Senthil" userId="ad0514d2-f5b9-46b6-980a-a8b5153a9916" providerId="ADAL" clId="{38506DFD-4B25-4139-A22B-6C8A840DF91F}" dt="2025-06-15T10:51:14.225" v="6639"/>
          <ac:spMkLst>
            <pc:docMk/>
            <pc:sldMk cId="1879566691" sldId="2147480474"/>
            <ac:spMk id="7" creationId="{FD2BB4B6-2AC4-E208-327A-C4AD7A49FB23}"/>
          </ac:spMkLst>
        </pc:spChg>
        <pc:spChg chg="mod">
          <ac:chgData name="Kanagasundaram, Senthil" userId="ad0514d2-f5b9-46b6-980a-a8b5153a9916" providerId="ADAL" clId="{38506DFD-4B25-4139-A22B-6C8A840DF91F}" dt="2025-06-15T10:52:03.146" v="6645" actId="552"/>
          <ac:spMkLst>
            <pc:docMk/>
            <pc:sldMk cId="1879566691" sldId="2147480474"/>
            <ac:spMk id="9" creationId="{68B0B354-0657-1EFA-A16B-7A58C9DC954D}"/>
          </ac:spMkLst>
        </pc:spChg>
        <pc:spChg chg="add del mod">
          <ac:chgData name="Kanagasundaram, Senthil" userId="ad0514d2-f5b9-46b6-980a-a8b5153a9916" providerId="ADAL" clId="{38506DFD-4B25-4139-A22B-6C8A840DF91F}" dt="2025-06-15T11:08:17.816" v="6702" actId="478"/>
          <ac:spMkLst>
            <pc:docMk/>
            <pc:sldMk cId="1879566691" sldId="2147480474"/>
            <ac:spMk id="11" creationId="{92D2DB3E-4F42-1CFF-60A8-3FE3F4AB5844}"/>
          </ac:spMkLst>
        </pc:spChg>
        <pc:spChg chg="mod">
          <ac:chgData name="Kanagasundaram, Senthil" userId="ad0514d2-f5b9-46b6-980a-a8b5153a9916" providerId="ADAL" clId="{38506DFD-4B25-4139-A22B-6C8A840DF91F}" dt="2025-06-15T10:54:54.724" v="6654" actId="20577"/>
          <ac:spMkLst>
            <pc:docMk/>
            <pc:sldMk cId="1879566691" sldId="2147480474"/>
            <ac:spMk id="13" creationId="{A6265DBD-01A9-31DC-C0A0-29A0B07F4C32}"/>
          </ac:spMkLst>
        </pc:spChg>
      </pc:sldChg>
      <pc:sldChg chg="addSp modSp mod">
        <pc:chgData name="Kanagasundaram, Senthil" userId="ad0514d2-f5b9-46b6-980a-a8b5153a9916" providerId="ADAL" clId="{38506DFD-4B25-4139-A22B-6C8A840DF91F}" dt="2025-06-15T11:03:21.687" v="6701" actId="20577"/>
        <pc:sldMkLst>
          <pc:docMk/>
          <pc:sldMk cId="4173253307" sldId="2147480475"/>
        </pc:sldMkLst>
        <pc:spChg chg="mod">
          <ac:chgData name="Kanagasundaram, Senthil" userId="ad0514d2-f5b9-46b6-980a-a8b5153a9916" providerId="ADAL" clId="{38506DFD-4B25-4139-A22B-6C8A840DF91F}" dt="2025-06-15T11:03:21.687" v="6701" actId="20577"/>
          <ac:spMkLst>
            <pc:docMk/>
            <pc:sldMk cId="4173253307" sldId="2147480475"/>
            <ac:spMk id="4" creationId="{5AFD576C-3DF0-26E2-630B-82C22DDA2B30}"/>
          </ac:spMkLst>
        </pc:spChg>
        <pc:spChg chg="add mod">
          <ac:chgData name="Kanagasundaram, Senthil" userId="ad0514d2-f5b9-46b6-980a-a8b5153a9916" providerId="ADAL" clId="{38506DFD-4B25-4139-A22B-6C8A840DF91F}" dt="2025-06-15T10:59:42.457" v="6664" actId="1076"/>
          <ac:spMkLst>
            <pc:docMk/>
            <pc:sldMk cId="4173253307" sldId="2147480475"/>
            <ac:spMk id="5" creationId="{98B15EA0-E52F-78AC-BCC6-BD460F0BB896}"/>
          </ac:spMkLst>
        </pc:spChg>
        <pc:spChg chg="mod">
          <ac:chgData name="Kanagasundaram, Senthil" userId="ad0514d2-f5b9-46b6-980a-a8b5153a9916" providerId="ADAL" clId="{38506DFD-4B25-4139-A22B-6C8A840DF91F}" dt="2025-06-15T11:02:31.244" v="6677" actId="552"/>
          <ac:spMkLst>
            <pc:docMk/>
            <pc:sldMk cId="4173253307" sldId="2147480475"/>
            <ac:spMk id="6" creationId="{A76D1631-2175-12AB-CE7D-DCB52E3A4801}"/>
          </ac:spMkLst>
        </pc:spChg>
        <pc:spChg chg="mod">
          <ac:chgData name="Kanagasundaram, Senthil" userId="ad0514d2-f5b9-46b6-980a-a8b5153a9916" providerId="ADAL" clId="{38506DFD-4B25-4139-A22B-6C8A840DF91F}" dt="2025-06-15T10:57:49.197" v="6656" actId="108"/>
          <ac:spMkLst>
            <pc:docMk/>
            <pc:sldMk cId="4173253307" sldId="2147480475"/>
            <ac:spMk id="8" creationId="{DEB5344C-4106-1005-C8C7-5225A2224E71}"/>
          </ac:spMkLst>
        </pc:spChg>
        <pc:spChg chg="mod">
          <ac:chgData name="Kanagasundaram, Senthil" userId="ad0514d2-f5b9-46b6-980a-a8b5153a9916" providerId="ADAL" clId="{38506DFD-4B25-4139-A22B-6C8A840DF91F}" dt="2025-06-15T11:02:25.351" v="6676" actId="552"/>
          <ac:spMkLst>
            <pc:docMk/>
            <pc:sldMk cId="4173253307" sldId="2147480475"/>
            <ac:spMk id="9" creationId="{1E20A6FD-9423-BF28-8EDC-2F9096E3A68D}"/>
          </ac:spMkLst>
        </pc:spChg>
        <pc:spChg chg="mod">
          <ac:chgData name="Kanagasundaram, Senthil" userId="ad0514d2-f5b9-46b6-980a-a8b5153a9916" providerId="ADAL" clId="{38506DFD-4B25-4139-A22B-6C8A840DF91F}" dt="2025-06-15T11:02:37.400" v="6678" actId="554"/>
          <ac:spMkLst>
            <pc:docMk/>
            <pc:sldMk cId="4173253307" sldId="2147480475"/>
            <ac:spMk id="13" creationId="{8DFB4655-4993-F2C7-3C9C-28E8159C22D1}"/>
          </ac:spMkLst>
        </pc:spChg>
      </pc:sldChg>
      <pc:sldChg chg="addSp modSp mod">
        <pc:chgData name="Kanagasundaram, Senthil" userId="ad0514d2-f5b9-46b6-980a-a8b5153a9916" providerId="ADAL" clId="{38506DFD-4B25-4139-A22B-6C8A840DF91F}" dt="2025-06-15T11:16:20.375" v="6709" actId="552"/>
        <pc:sldMkLst>
          <pc:docMk/>
          <pc:sldMk cId="3911481354" sldId="2147480476"/>
        </pc:sldMkLst>
        <pc:spChg chg="mod">
          <ac:chgData name="Kanagasundaram, Senthil" userId="ad0514d2-f5b9-46b6-980a-a8b5153a9916" providerId="ADAL" clId="{38506DFD-4B25-4139-A22B-6C8A840DF91F}" dt="2025-06-15T11:16:16.273" v="6708" actId="552"/>
          <ac:spMkLst>
            <pc:docMk/>
            <pc:sldMk cId="3911481354" sldId="2147480476"/>
            <ac:spMk id="4" creationId="{9BD02E14-F209-C64B-9692-69486F9163BF}"/>
          </ac:spMkLst>
        </pc:spChg>
        <pc:spChg chg="add mod">
          <ac:chgData name="Kanagasundaram, Senthil" userId="ad0514d2-f5b9-46b6-980a-a8b5153a9916" providerId="ADAL" clId="{38506DFD-4B25-4139-A22B-6C8A840DF91F}" dt="2025-06-09T10:02:52.090" v="3069"/>
          <ac:spMkLst>
            <pc:docMk/>
            <pc:sldMk cId="3911481354" sldId="2147480476"/>
            <ac:spMk id="5" creationId="{EB98384B-807B-F35D-DB8D-C87C6334AC4F}"/>
          </ac:spMkLst>
        </pc:spChg>
        <pc:spChg chg="mod">
          <ac:chgData name="Kanagasundaram, Senthil" userId="ad0514d2-f5b9-46b6-980a-a8b5153a9916" providerId="ADAL" clId="{38506DFD-4B25-4139-A22B-6C8A840DF91F}" dt="2025-06-15T11:16:20.375" v="6709" actId="552"/>
          <ac:spMkLst>
            <pc:docMk/>
            <pc:sldMk cId="3911481354" sldId="2147480476"/>
            <ac:spMk id="6" creationId="{ECFB4DCF-E3D3-5869-AD3A-45336900FF6A}"/>
          </ac:spMkLst>
        </pc:spChg>
        <pc:spChg chg="mod">
          <ac:chgData name="Kanagasundaram, Senthil" userId="ad0514d2-f5b9-46b6-980a-a8b5153a9916" providerId="ADAL" clId="{38506DFD-4B25-4139-A22B-6C8A840DF91F}" dt="2025-06-15T11:16:16.273" v="6708" actId="552"/>
          <ac:spMkLst>
            <pc:docMk/>
            <pc:sldMk cId="3911481354" sldId="2147480476"/>
            <ac:spMk id="9" creationId="{BF982D66-FF27-9250-1BB2-EE505FA15863}"/>
          </ac:spMkLst>
        </pc:spChg>
        <pc:spChg chg="add">
          <ac:chgData name="Kanagasundaram, Senthil" userId="ad0514d2-f5b9-46b6-980a-a8b5153a9916" providerId="ADAL" clId="{38506DFD-4B25-4139-A22B-6C8A840DF91F}" dt="2025-06-15T08:33:00.686" v="6253"/>
          <ac:spMkLst>
            <pc:docMk/>
            <pc:sldMk cId="3911481354" sldId="2147480476"/>
            <ac:spMk id="10" creationId="{912821B3-CD85-1C4B-A695-E8D51316B6F3}"/>
          </ac:spMkLst>
        </pc:spChg>
        <pc:spChg chg="mod">
          <ac:chgData name="Kanagasundaram, Senthil" userId="ad0514d2-f5b9-46b6-980a-a8b5153a9916" providerId="ADAL" clId="{38506DFD-4B25-4139-A22B-6C8A840DF91F}" dt="2025-06-15T11:16:20.375" v="6709" actId="552"/>
          <ac:spMkLst>
            <pc:docMk/>
            <pc:sldMk cId="3911481354" sldId="2147480476"/>
            <ac:spMk id="13" creationId="{FA4C76DD-C2B7-0F04-F119-FB4DD3AD1499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05:43:37.026" v="6252"/>
        <pc:sldMkLst>
          <pc:docMk/>
          <pc:sldMk cId="3180382942" sldId="2147480477"/>
        </pc:sldMkLst>
        <pc:spChg chg="mod">
          <ac:chgData name="Kanagasundaram, Senthil" userId="ad0514d2-f5b9-46b6-980a-a8b5153a9916" providerId="ADAL" clId="{38506DFD-4B25-4139-A22B-6C8A840DF91F}" dt="2025-06-14T09:55:54.736" v="4770" actId="20577"/>
          <ac:spMkLst>
            <pc:docMk/>
            <pc:sldMk cId="3180382942" sldId="2147480477"/>
            <ac:spMk id="4" creationId="{7AE65DB9-A4EB-6B6E-707D-C817255EDDE5}"/>
          </ac:spMkLst>
        </pc:spChg>
        <pc:spChg chg="mod">
          <ac:chgData name="Kanagasundaram, Senthil" userId="ad0514d2-f5b9-46b6-980a-a8b5153a9916" providerId="ADAL" clId="{38506DFD-4B25-4139-A22B-6C8A840DF91F}" dt="2025-06-14T09:54:50.074" v="4755" actId="255"/>
          <ac:spMkLst>
            <pc:docMk/>
            <pc:sldMk cId="3180382942" sldId="2147480477"/>
            <ac:spMk id="5" creationId="{7646DAAB-53F2-FFD5-3673-0CE674219B3D}"/>
          </ac:spMkLst>
        </pc:spChg>
        <pc:spChg chg="mod">
          <ac:chgData name="Kanagasundaram, Senthil" userId="ad0514d2-f5b9-46b6-980a-a8b5153a9916" providerId="ADAL" clId="{38506DFD-4B25-4139-A22B-6C8A840DF91F}" dt="2025-06-15T05:43:37.026" v="6252"/>
          <ac:spMkLst>
            <pc:docMk/>
            <pc:sldMk cId="3180382942" sldId="2147480477"/>
            <ac:spMk id="6" creationId="{BFB94195-9FCD-6EA1-535D-EDA0833E3710}"/>
          </ac:spMkLst>
        </pc:spChg>
        <pc:spChg chg="mod">
          <ac:chgData name="Kanagasundaram, Senthil" userId="ad0514d2-f5b9-46b6-980a-a8b5153a9916" providerId="ADAL" clId="{38506DFD-4B25-4139-A22B-6C8A840DF91F}" dt="2025-06-14T09:56:25.288" v="4779" actId="20577"/>
          <ac:spMkLst>
            <pc:docMk/>
            <pc:sldMk cId="3180382942" sldId="2147480477"/>
            <ac:spMk id="9" creationId="{836B00D9-77ED-78EB-1051-52BEA7CA2B7D}"/>
          </ac:spMkLst>
        </pc:spChg>
        <pc:spChg chg="add del mod">
          <ac:chgData name="Kanagasundaram, Senthil" userId="ad0514d2-f5b9-46b6-980a-a8b5153a9916" providerId="ADAL" clId="{38506DFD-4B25-4139-A22B-6C8A840DF91F}" dt="2025-06-14T09:38:38.024" v="4742" actId="478"/>
          <ac:spMkLst>
            <pc:docMk/>
            <pc:sldMk cId="3180382942" sldId="2147480477"/>
            <ac:spMk id="10" creationId="{79953E87-2BA6-8E0F-3BB6-F77A7D4B089D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05:42:20.148" v="6251" actId="20577"/>
        <pc:sldMkLst>
          <pc:docMk/>
          <pc:sldMk cId="885171934" sldId="2147480478"/>
        </pc:sldMkLst>
        <pc:spChg chg="mod">
          <ac:chgData name="Kanagasundaram, Senthil" userId="ad0514d2-f5b9-46b6-980a-a8b5153a9916" providerId="ADAL" clId="{38506DFD-4B25-4139-A22B-6C8A840DF91F}" dt="2025-06-14T09:56:37.969" v="4780" actId="255"/>
          <ac:spMkLst>
            <pc:docMk/>
            <pc:sldMk cId="885171934" sldId="2147480478"/>
            <ac:spMk id="5" creationId="{7646DAAB-53F2-FFD5-3673-0CE674219B3D}"/>
          </ac:spMkLst>
        </pc:spChg>
        <pc:spChg chg="mod">
          <ac:chgData name="Kanagasundaram, Senthil" userId="ad0514d2-f5b9-46b6-980a-a8b5153a9916" providerId="ADAL" clId="{38506DFD-4B25-4139-A22B-6C8A840DF91F}" dt="2025-06-15T05:42:20.148" v="6251" actId="20577"/>
          <ac:spMkLst>
            <pc:docMk/>
            <pc:sldMk cId="885171934" sldId="2147480478"/>
            <ac:spMk id="6" creationId="{BFB94195-9FCD-6EA1-535D-EDA0833E3710}"/>
          </ac:spMkLst>
        </pc:spChg>
        <pc:spChg chg="mod">
          <ac:chgData name="Kanagasundaram, Senthil" userId="ad0514d2-f5b9-46b6-980a-a8b5153a9916" providerId="ADAL" clId="{38506DFD-4B25-4139-A22B-6C8A840DF91F}" dt="2025-06-14T09:56:52.472" v="4782" actId="255"/>
          <ac:spMkLst>
            <pc:docMk/>
            <pc:sldMk cId="885171934" sldId="2147480478"/>
            <ac:spMk id="9" creationId="{836B00D9-77ED-78EB-1051-52BEA7CA2B7D}"/>
          </ac:spMkLst>
        </pc:spChg>
        <pc:spChg chg="add del mod">
          <ac:chgData name="Kanagasundaram, Senthil" userId="ad0514d2-f5b9-46b6-980a-a8b5153a9916" providerId="ADAL" clId="{38506DFD-4B25-4139-A22B-6C8A840DF91F}" dt="2025-06-14T09:42:27.242" v="4746" actId="478"/>
          <ac:spMkLst>
            <pc:docMk/>
            <pc:sldMk cId="885171934" sldId="2147480478"/>
            <ac:spMk id="10" creationId="{E8C86059-6C6B-1BAE-F35C-32D9395BA628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05:39:36.418" v="6247" actId="20577"/>
        <pc:sldMkLst>
          <pc:docMk/>
          <pc:sldMk cId="1818084077" sldId="2147480479"/>
        </pc:sldMkLst>
        <pc:spChg chg="mod">
          <ac:chgData name="Kanagasundaram, Senthil" userId="ad0514d2-f5b9-46b6-980a-a8b5153a9916" providerId="ADAL" clId="{38506DFD-4B25-4139-A22B-6C8A840DF91F}" dt="2025-06-12T09:45:09.881" v="3467" actId="14100"/>
          <ac:spMkLst>
            <pc:docMk/>
            <pc:sldMk cId="1818084077" sldId="2147480479"/>
            <ac:spMk id="3" creationId="{E9684E11-1DF4-AEDE-E85B-CB5FA92CCE8A}"/>
          </ac:spMkLst>
        </pc:spChg>
        <pc:spChg chg="mod">
          <ac:chgData name="Kanagasundaram, Senthil" userId="ad0514d2-f5b9-46b6-980a-a8b5153a9916" providerId="ADAL" clId="{38506DFD-4B25-4139-A22B-6C8A840DF91F}" dt="2025-06-14T09:58:04.465" v="4794" actId="12"/>
          <ac:spMkLst>
            <pc:docMk/>
            <pc:sldMk cId="1818084077" sldId="2147480479"/>
            <ac:spMk id="4" creationId="{02A83C3D-7701-4469-3CF6-27A27AA7A9C4}"/>
          </ac:spMkLst>
        </pc:spChg>
        <pc:spChg chg="mod">
          <ac:chgData name="Kanagasundaram, Senthil" userId="ad0514d2-f5b9-46b6-980a-a8b5153a9916" providerId="ADAL" clId="{38506DFD-4B25-4139-A22B-6C8A840DF91F}" dt="2025-06-14T09:57:12.091" v="4785" actId="255"/>
          <ac:spMkLst>
            <pc:docMk/>
            <pc:sldMk cId="1818084077" sldId="2147480479"/>
            <ac:spMk id="5" creationId="{0A14A523-CC81-0EA3-4995-CAB875AF1CB0}"/>
          </ac:spMkLst>
        </pc:spChg>
        <pc:spChg chg="mod">
          <ac:chgData name="Kanagasundaram, Senthil" userId="ad0514d2-f5b9-46b6-980a-a8b5153a9916" providerId="ADAL" clId="{38506DFD-4B25-4139-A22B-6C8A840DF91F}" dt="2025-06-15T05:39:36.418" v="6247" actId="20577"/>
          <ac:spMkLst>
            <pc:docMk/>
            <pc:sldMk cId="1818084077" sldId="2147480479"/>
            <ac:spMk id="6" creationId="{33BBA755-8228-3BD6-A25F-26FADB6DCA96}"/>
          </ac:spMkLst>
        </pc:spChg>
        <pc:spChg chg="add del mod">
          <ac:chgData name="Kanagasundaram, Senthil" userId="ad0514d2-f5b9-46b6-980a-a8b5153a9916" providerId="ADAL" clId="{38506DFD-4B25-4139-A22B-6C8A840DF91F}" dt="2025-06-14T09:44:27.164" v="4747" actId="478"/>
          <ac:spMkLst>
            <pc:docMk/>
            <pc:sldMk cId="1818084077" sldId="2147480479"/>
            <ac:spMk id="7" creationId="{578340A8-D7D5-6BAA-8796-C947ECEBC2CE}"/>
          </ac:spMkLst>
        </pc:spChg>
        <pc:spChg chg="mod">
          <ac:chgData name="Kanagasundaram, Senthil" userId="ad0514d2-f5b9-46b6-980a-a8b5153a9916" providerId="ADAL" clId="{38506DFD-4B25-4139-A22B-6C8A840DF91F}" dt="2025-06-14T09:57:56.241" v="4792" actId="12"/>
          <ac:spMkLst>
            <pc:docMk/>
            <pc:sldMk cId="1818084077" sldId="2147480479"/>
            <ac:spMk id="9" creationId="{4FFFAA12-4506-52C5-F959-3B70670FA5C6}"/>
          </ac:spMkLst>
        </pc:spChg>
      </pc:sldChg>
      <pc:sldChg chg="addSp modSp mod">
        <pc:chgData name="Kanagasundaram, Senthil" userId="ad0514d2-f5b9-46b6-980a-a8b5153a9916" providerId="ADAL" clId="{38506DFD-4B25-4139-A22B-6C8A840DF91F}" dt="2025-06-13T03:27:35.455" v="4355" actId="20577"/>
        <pc:sldMkLst>
          <pc:docMk/>
          <pc:sldMk cId="17041418" sldId="2147480480"/>
        </pc:sldMkLst>
      </pc:sldChg>
      <pc:sldChg chg="addSp delSp modSp mod modNotesTx">
        <pc:chgData name="Kanagasundaram, Senthil" userId="ad0514d2-f5b9-46b6-980a-a8b5153a9916" providerId="ADAL" clId="{38506DFD-4B25-4139-A22B-6C8A840DF91F}" dt="2025-06-15T05:12:55.084" v="6178" actId="14100"/>
        <pc:sldMkLst>
          <pc:docMk/>
          <pc:sldMk cId="292172058" sldId="2147480481"/>
        </pc:sldMkLst>
        <pc:spChg chg="mod">
          <ac:chgData name="Kanagasundaram, Senthil" userId="ad0514d2-f5b9-46b6-980a-a8b5153a9916" providerId="ADAL" clId="{38506DFD-4B25-4139-A22B-6C8A840DF91F}" dt="2025-06-15T04:47:15.924" v="6117" actId="552"/>
          <ac:spMkLst>
            <pc:docMk/>
            <pc:sldMk cId="292172058" sldId="2147480481"/>
            <ac:spMk id="4" creationId="{D00745B2-75A1-0AC8-4C39-5618D6FF5C1B}"/>
          </ac:spMkLst>
        </pc:spChg>
        <pc:spChg chg="mod">
          <ac:chgData name="Kanagasundaram, Senthil" userId="ad0514d2-f5b9-46b6-980a-a8b5153a9916" providerId="ADAL" clId="{38506DFD-4B25-4139-A22B-6C8A840DF91F}" dt="2025-06-15T04:47:11.624" v="6116" actId="552"/>
          <ac:spMkLst>
            <pc:docMk/>
            <pc:sldMk cId="292172058" sldId="2147480481"/>
            <ac:spMk id="5" creationId="{14A88BCF-9352-A540-345D-D4C26E14DEBF}"/>
          </ac:spMkLst>
        </pc:spChg>
        <pc:spChg chg="mod">
          <ac:chgData name="Kanagasundaram, Senthil" userId="ad0514d2-f5b9-46b6-980a-a8b5153a9916" providerId="ADAL" clId="{38506DFD-4B25-4139-A22B-6C8A840DF91F}" dt="2025-06-15T04:47:11.624" v="6116" actId="552"/>
          <ac:spMkLst>
            <pc:docMk/>
            <pc:sldMk cId="292172058" sldId="2147480481"/>
            <ac:spMk id="6" creationId="{C7AB02ED-6B99-D130-88DA-D3AE5E8812C4}"/>
          </ac:spMkLst>
        </pc:spChg>
        <pc:spChg chg="mod">
          <ac:chgData name="Kanagasundaram, Senthil" userId="ad0514d2-f5b9-46b6-980a-a8b5153a9916" providerId="ADAL" clId="{38506DFD-4B25-4139-A22B-6C8A840DF91F}" dt="2025-06-15T04:47:15.924" v="6117" actId="552"/>
          <ac:spMkLst>
            <pc:docMk/>
            <pc:sldMk cId="292172058" sldId="2147480481"/>
            <ac:spMk id="7" creationId="{6A0580D2-C128-7299-A175-11A5B3D15875}"/>
          </ac:spMkLst>
        </pc:spChg>
        <pc:spChg chg="add mod">
          <ac:chgData name="Kanagasundaram, Senthil" userId="ad0514d2-f5b9-46b6-980a-a8b5153a9916" providerId="ADAL" clId="{38506DFD-4B25-4139-A22B-6C8A840DF91F}" dt="2025-06-15T04:45:00.702" v="6111"/>
          <ac:spMkLst>
            <pc:docMk/>
            <pc:sldMk cId="292172058" sldId="2147480481"/>
            <ac:spMk id="10" creationId="{5A01B284-C811-5F1E-9FE9-5D688FFD181E}"/>
          </ac:spMkLst>
        </pc:spChg>
        <pc:spChg chg="add del mod">
          <ac:chgData name="Kanagasundaram, Senthil" userId="ad0514d2-f5b9-46b6-980a-a8b5153a9916" providerId="ADAL" clId="{38506DFD-4B25-4139-A22B-6C8A840DF91F}" dt="2025-06-15T04:44:59.973" v="6110" actId="478"/>
          <ac:spMkLst>
            <pc:docMk/>
            <pc:sldMk cId="292172058" sldId="2147480481"/>
            <ac:spMk id="11" creationId="{C699C1CD-C755-601C-0C78-FCDAF37008E5}"/>
          </ac:spMkLst>
        </pc:spChg>
        <pc:spChg chg="mod">
          <ac:chgData name="Kanagasundaram, Senthil" userId="ad0514d2-f5b9-46b6-980a-a8b5153a9916" providerId="ADAL" clId="{38506DFD-4B25-4139-A22B-6C8A840DF91F}" dt="2025-06-15T05:12:55.084" v="6178" actId="14100"/>
          <ac:spMkLst>
            <pc:docMk/>
            <pc:sldMk cId="292172058" sldId="2147480481"/>
            <ac:spMk id="15" creationId="{568140E4-1179-5647-FD7E-80C1614706C0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05:19:44.508" v="6226"/>
        <pc:sldMkLst>
          <pc:docMk/>
          <pc:sldMk cId="1846665679" sldId="2147480482"/>
        </pc:sldMkLst>
        <pc:spChg chg="mod">
          <ac:chgData name="Kanagasundaram, Senthil" userId="ad0514d2-f5b9-46b6-980a-a8b5153a9916" providerId="ADAL" clId="{38506DFD-4B25-4139-A22B-6C8A840DF91F}" dt="2025-06-15T05:19:44.508" v="6226"/>
          <ac:spMkLst>
            <pc:docMk/>
            <pc:sldMk cId="1846665679" sldId="2147480482"/>
            <ac:spMk id="4" creationId="{D00745B2-75A1-0AC8-4C39-5618D6FF5C1B}"/>
          </ac:spMkLst>
        </pc:spChg>
        <pc:spChg chg="mod">
          <ac:chgData name="Kanagasundaram, Senthil" userId="ad0514d2-f5b9-46b6-980a-a8b5153a9916" providerId="ADAL" clId="{38506DFD-4B25-4139-A22B-6C8A840DF91F}" dt="2025-06-15T04:52:02.325" v="6155" actId="20577"/>
          <ac:spMkLst>
            <pc:docMk/>
            <pc:sldMk cId="1846665679" sldId="2147480482"/>
            <ac:spMk id="5" creationId="{14A88BCF-9352-A540-345D-D4C26E14DEBF}"/>
          </ac:spMkLst>
        </pc:spChg>
        <pc:spChg chg="mod">
          <ac:chgData name="Kanagasundaram, Senthil" userId="ad0514d2-f5b9-46b6-980a-a8b5153a9916" providerId="ADAL" clId="{38506DFD-4B25-4139-A22B-6C8A840DF91F}" dt="2025-06-15T05:01:01.505" v="6164" actId="6549"/>
          <ac:spMkLst>
            <pc:docMk/>
            <pc:sldMk cId="1846665679" sldId="2147480482"/>
            <ac:spMk id="6" creationId="{C7AB02ED-6B99-D130-88DA-D3AE5E8812C4}"/>
          </ac:spMkLst>
        </pc:spChg>
        <pc:spChg chg="mod">
          <ac:chgData name="Kanagasundaram, Senthil" userId="ad0514d2-f5b9-46b6-980a-a8b5153a9916" providerId="ADAL" clId="{38506DFD-4B25-4139-A22B-6C8A840DF91F}" dt="2025-06-15T04:51:39.056" v="6126" actId="554"/>
          <ac:spMkLst>
            <pc:docMk/>
            <pc:sldMk cId="1846665679" sldId="2147480482"/>
            <ac:spMk id="7" creationId="{6A0580D2-C128-7299-A175-11A5B3D15875}"/>
          </ac:spMkLst>
        </pc:spChg>
        <pc:spChg chg="add mod">
          <ac:chgData name="Kanagasundaram, Senthil" userId="ad0514d2-f5b9-46b6-980a-a8b5153a9916" providerId="ADAL" clId="{38506DFD-4B25-4139-A22B-6C8A840DF91F}" dt="2025-06-15T05:13:07.287" v="6180"/>
          <ac:spMkLst>
            <pc:docMk/>
            <pc:sldMk cId="1846665679" sldId="2147480482"/>
            <ac:spMk id="10" creationId="{C70A61B6-14DE-326F-160D-86FCDD08B148}"/>
          </ac:spMkLst>
        </pc:spChg>
        <pc:spChg chg="add del mod">
          <ac:chgData name="Kanagasundaram, Senthil" userId="ad0514d2-f5b9-46b6-980a-a8b5153a9916" providerId="ADAL" clId="{38506DFD-4B25-4139-A22B-6C8A840DF91F}" dt="2025-06-15T04:56:39.163" v="6156" actId="478"/>
          <ac:spMkLst>
            <pc:docMk/>
            <pc:sldMk cId="1846665679" sldId="2147480482"/>
            <ac:spMk id="11" creationId="{A97A34D1-E2A3-5B49-33E1-EB00682EC90B}"/>
          </ac:spMkLst>
        </pc:spChg>
        <pc:spChg chg="del">
          <ac:chgData name="Kanagasundaram, Senthil" userId="ad0514d2-f5b9-46b6-980a-a8b5153a9916" providerId="ADAL" clId="{38506DFD-4B25-4139-A22B-6C8A840DF91F}" dt="2025-06-15T05:13:06.467" v="6179" actId="478"/>
          <ac:spMkLst>
            <pc:docMk/>
            <pc:sldMk cId="1846665679" sldId="2147480482"/>
            <ac:spMk id="12" creationId="{95521245-0243-9422-96DE-C7381CA1A274}"/>
          </ac:spMkLst>
        </pc:spChg>
      </pc:sldChg>
      <pc:sldChg chg="addSp delSp modSp mod">
        <pc:chgData name="Kanagasundaram, Senthil" userId="ad0514d2-f5b9-46b6-980a-a8b5153a9916" providerId="ADAL" clId="{38506DFD-4B25-4139-A22B-6C8A840DF91F}" dt="2025-06-15T05:16:02.918" v="6196"/>
        <pc:sldMkLst>
          <pc:docMk/>
          <pc:sldMk cId="909118351" sldId="2147480483"/>
        </pc:sldMkLst>
        <pc:spChg chg="mod">
          <ac:chgData name="Kanagasundaram, Senthil" userId="ad0514d2-f5b9-46b6-980a-a8b5153a9916" providerId="ADAL" clId="{38506DFD-4B25-4139-A22B-6C8A840DF91F}" dt="2025-06-15T05:16:02.918" v="6196"/>
          <ac:spMkLst>
            <pc:docMk/>
            <pc:sldMk cId="909118351" sldId="2147480483"/>
            <ac:spMk id="6" creationId="{C7AB02ED-6B99-D130-88DA-D3AE5E8812C4}"/>
          </ac:spMkLst>
        </pc:spChg>
        <pc:spChg chg="add">
          <ac:chgData name="Kanagasundaram, Senthil" userId="ad0514d2-f5b9-46b6-980a-a8b5153a9916" providerId="ADAL" clId="{38506DFD-4B25-4139-A22B-6C8A840DF91F}" dt="2025-06-15T04:12:23.177" v="5991"/>
          <ac:spMkLst>
            <pc:docMk/>
            <pc:sldMk cId="909118351" sldId="2147480483"/>
            <ac:spMk id="10" creationId="{6B8363F8-0C2F-1E54-E59E-3FCCF50F6474}"/>
          </ac:spMkLst>
        </pc:spChg>
        <pc:spChg chg="add mod">
          <ac:chgData name="Kanagasundaram, Senthil" userId="ad0514d2-f5b9-46b6-980a-a8b5153a9916" providerId="ADAL" clId="{38506DFD-4B25-4139-A22B-6C8A840DF91F}" dt="2025-06-09T10:05:13.420" v="3102"/>
          <ac:spMkLst>
            <pc:docMk/>
            <pc:sldMk cId="909118351" sldId="2147480483"/>
            <ac:spMk id="11" creationId="{0136C400-BF21-D856-0E2D-81B354032098}"/>
          </ac:spMkLst>
        </pc:spChg>
        <pc:spChg chg="del">
          <ac:chgData name="Kanagasundaram, Senthil" userId="ad0514d2-f5b9-46b6-980a-a8b5153a9916" providerId="ADAL" clId="{38506DFD-4B25-4139-A22B-6C8A840DF91F}" dt="2025-06-15T05:13:15.414" v="6181" actId="478"/>
          <ac:spMkLst>
            <pc:docMk/>
            <pc:sldMk cId="909118351" sldId="2147480483"/>
            <ac:spMk id="12" creationId="{A2671AB2-9797-C96E-DD46-CF73244BFD15}"/>
          </ac:spMkLst>
        </pc:spChg>
        <pc:spChg chg="add mod">
          <ac:chgData name="Kanagasundaram, Senthil" userId="ad0514d2-f5b9-46b6-980a-a8b5153a9916" providerId="ADAL" clId="{38506DFD-4B25-4139-A22B-6C8A840DF91F}" dt="2025-06-15T05:13:16.174" v="6182"/>
          <ac:spMkLst>
            <pc:docMk/>
            <pc:sldMk cId="909118351" sldId="2147480483"/>
            <ac:spMk id="13" creationId="{A67CC15C-42E5-F09E-F79D-4CD94CD83711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05:23:33.542" v="6245" actId="6549"/>
        <pc:sldMkLst>
          <pc:docMk/>
          <pc:sldMk cId="639997029" sldId="2147480484"/>
        </pc:sldMkLst>
        <pc:spChg chg="mod">
          <ac:chgData name="Kanagasundaram, Senthil" userId="ad0514d2-f5b9-46b6-980a-a8b5153a9916" providerId="ADAL" clId="{38506DFD-4B25-4139-A22B-6C8A840DF91F}" dt="2025-06-15T05:20:31.203" v="6230" actId="552"/>
          <ac:spMkLst>
            <pc:docMk/>
            <pc:sldMk cId="639997029" sldId="2147480484"/>
            <ac:spMk id="4" creationId="{D00745B2-75A1-0AC8-4C39-5618D6FF5C1B}"/>
          </ac:spMkLst>
        </pc:spChg>
        <pc:spChg chg="mod">
          <ac:chgData name="Kanagasundaram, Senthil" userId="ad0514d2-f5b9-46b6-980a-a8b5153a9916" providerId="ADAL" clId="{38506DFD-4B25-4139-A22B-6C8A840DF91F}" dt="2025-06-15T05:21:15.834" v="6243" actId="20577"/>
          <ac:spMkLst>
            <pc:docMk/>
            <pc:sldMk cId="639997029" sldId="2147480484"/>
            <ac:spMk id="5" creationId="{14A88BCF-9352-A540-345D-D4C26E14DEBF}"/>
          </ac:spMkLst>
        </pc:spChg>
        <pc:spChg chg="mod">
          <ac:chgData name="Kanagasundaram, Senthil" userId="ad0514d2-f5b9-46b6-980a-a8b5153a9916" providerId="ADAL" clId="{38506DFD-4B25-4139-A22B-6C8A840DF91F}" dt="2025-06-15T05:20:36.264" v="6231" actId="552"/>
          <ac:spMkLst>
            <pc:docMk/>
            <pc:sldMk cId="639997029" sldId="2147480484"/>
            <ac:spMk id="6" creationId="{C7AB02ED-6B99-D130-88DA-D3AE5E8812C4}"/>
          </ac:spMkLst>
        </pc:spChg>
        <pc:spChg chg="mod">
          <ac:chgData name="Kanagasundaram, Senthil" userId="ad0514d2-f5b9-46b6-980a-a8b5153a9916" providerId="ADAL" clId="{38506DFD-4B25-4139-A22B-6C8A840DF91F}" dt="2025-06-15T05:20:31.203" v="6230" actId="552"/>
          <ac:spMkLst>
            <pc:docMk/>
            <pc:sldMk cId="639997029" sldId="2147480484"/>
            <ac:spMk id="7" creationId="{6A0580D2-C128-7299-A175-11A5B3D15875}"/>
          </ac:spMkLst>
        </pc:spChg>
        <pc:spChg chg="add mod">
          <ac:chgData name="Kanagasundaram, Senthil" userId="ad0514d2-f5b9-46b6-980a-a8b5153a9916" providerId="ADAL" clId="{38506DFD-4B25-4139-A22B-6C8A840DF91F}" dt="2025-06-15T05:13:31.663" v="6193" actId="20577"/>
          <ac:spMkLst>
            <pc:docMk/>
            <pc:sldMk cId="639997029" sldId="2147480484"/>
            <ac:spMk id="10" creationId="{F9DD08E6-12D6-8BB7-C260-583DE77503B8}"/>
          </ac:spMkLst>
        </pc:spChg>
        <pc:spChg chg="add del mod">
          <ac:chgData name="Kanagasundaram, Senthil" userId="ad0514d2-f5b9-46b6-980a-a8b5153a9916" providerId="ADAL" clId="{38506DFD-4B25-4139-A22B-6C8A840DF91F}" dt="2025-06-15T05:15:29.289" v="6194" actId="478"/>
          <ac:spMkLst>
            <pc:docMk/>
            <pc:sldMk cId="639997029" sldId="2147480484"/>
            <ac:spMk id="11" creationId="{82B77208-C5AB-E8C3-ADBF-98DC2DD1DDE0}"/>
          </ac:spMkLst>
        </pc:spChg>
        <pc:spChg chg="del">
          <ac:chgData name="Kanagasundaram, Senthil" userId="ad0514d2-f5b9-46b6-980a-a8b5153a9916" providerId="ADAL" clId="{38506DFD-4B25-4139-A22B-6C8A840DF91F}" dt="2025-06-15T05:13:26.589" v="6183" actId="478"/>
          <ac:spMkLst>
            <pc:docMk/>
            <pc:sldMk cId="639997029" sldId="2147480484"/>
            <ac:spMk id="12" creationId="{2CB042C8-C4DD-9D80-159C-64A809DF559E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04:06:04.063" v="5985" actId="554"/>
        <pc:sldMkLst>
          <pc:docMk/>
          <pc:sldMk cId="1884353237" sldId="2147480485"/>
        </pc:sldMkLst>
        <pc:spChg chg="mod">
          <ac:chgData name="Kanagasundaram, Senthil" userId="ad0514d2-f5b9-46b6-980a-a8b5153a9916" providerId="ADAL" clId="{38506DFD-4B25-4139-A22B-6C8A840DF91F}" dt="2025-06-14T14:58:39.925" v="4897" actId="20577"/>
          <ac:spMkLst>
            <pc:docMk/>
            <pc:sldMk cId="1884353237" sldId="2147480485"/>
            <ac:spMk id="3" creationId="{8A56E455-E02B-96F5-C2AA-4E4E780CBDBD}"/>
          </ac:spMkLst>
        </pc:spChg>
        <pc:spChg chg="mod">
          <ac:chgData name="Kanagasundaram, Senthil" userId="ad0514d2-f5b9-46b6-980a-a8b5153a9916" providerId="ADAL" clId="{38506DFD-4B25-4139-A22B-6C8A840DF91F}" dt="2025-06-15T04:05:59.184" v="5984" actId="552"/>
          <ac:spMkLst>
            <pc:docMk/>
            <pc:sldMk cId="1884353237" sldId="2147480485"/>
            <ac:spMk id="4" creationId="{D00745B2-75A1-0AC8-4C39-5618D6FF5C1B}"/>
          </ac:spMkLst>
        </pc:spChg>
        <pc:spChg chg="mod">
          <ac:chgData name="Kanagasundaram, Senthil" userId="ad0514d2-f5b9-46b6-980a-a8b5153a9916" providerId="ADAL" clId="{38506DFD-4B25-4139-A22B-6C8A840DF91F}" dt="2025-06-15T04:05:55.203" v="5983" actId="552"/>
          <ac:spMkLst>
            <pc:docMk/>
            <pc:sldMk cId="1884353237" sldId="2147480485"/>
            <ac:spMk id="5" creationId="{14A88BCF-9352-A540-345D-D4C26E14DEBF}"/>
          </ac:spMkLst>
        </pc:spChg>
        <pc:spChg chg="mod">
          <ac:chgData name="Kanagasundaram, Senthil" userId="ad0514d2-f5b9-46b6-980a-a8b5153a9916" providerId="ADAL" clId="{38506DFD-4B25-4139-A22B-6C8A840DF91F}" dt="2025-06-15T04:06:04.063" v="5985" actId="554"/>
          <ac:spMkLst>
            <pc:docMk/>
            <pc:sldMk cId="1884353237" sldId="2147480485"/>
            <ac:spMk id="6" creationId="{C7AB02ED-6B99-D130-88DA-D3AE5E8812C4}"/>
          </ac:spMkLst>
        </pc:spChg>
        <pc:spChg chg="mod">
          <ac:chgData name="Kanagasundaram, Senthil" userId="ad0514d2-f5b9-46b6-980a-a8b5153a9916" providerId="ADAL" clId="{38506DFD-4B25-4139-A22B-6C8A840DF91F}" dt="2025-06-15T04:06:04.063" v="5985" actId="554"/>
          <ac:spMkLst>
            <pc:docMk/>
            <pc:sldMk cId="1884353237" sldId="2147480485"/>
            <ac:spMk id="7" creationId="{6A0580D2-C128-7299-A175-11A5B3D15875}"/>
          </ac:spMkLst>
        </pc:spChg>
        <pc:spChg chg="mod">
          <ac:chgData name="Kanagasundaram, Senthil" userId="ad0514d2-f5b9-46b6-980a-a8b5153a9916" providerId="ADAL" clId="{38506DFD-4B25-4139-A22B-6C8A840DF91F}" dt="2025-06-14T14:58:52.573" v="4900" actId="20577"/>
          <ac:spMkLst>
            <pc:docMk/>
            <pc:sldMk cId="1884353237" sldId="2147480485"/>
            <ac:spMk id="8" creationId="{BA657787-4731-0A0C-9EFF-BF32F828B6E8}"/>
          </ac:spMkLst>
        </pc:spChg>
        <pc:spChg chg="add mod">
          <ac:chgData name="Kanagasundaram, Senthil" userId="ad0514d2-f5b9-46b6-980a-a8b5153a9916" providerId="ADAL" clId="{38506DFD-4B25-4139-A22B-6C8A840DF91F}" dt="2025-06-14T15:02:33.331" v="4932"/>
          <ac:spMkLst>
            <pc:docMk/>
            <pc:sldMk cId="1884353237" sldId="2147480485"/>
            <ac:spMk id="10" creationId="{9FEFD6DE-1223-5EE0-0E31-F5A2C213C1A4}"/>
          </ac:spMkLst>
        </pc:spChg>
        <pc:spChg chg="del">
          <ac:chgData name="Kanagasundaram, Senthil" userId="ad0514d2-f5b9-46b6-980a-a8b5153a9916" providerId="ADAL" clId="{38506DFD-4B25-4139-A22B-6C8A840DF91F}" dt="2025-06-14T15:02:32.774" v="4931" actId="478"/>
          <ac:spMkLst>
            <pc:docMk/>
            <pc:sldMk cId="1884353237" sldId="2147480485"/>
            <ac:spMk id="12" creationId="{C4F48B24-671C-A95F-65C9-C490AC41B522}"/>
          </ac:spMkLst>
        </pc:spChg>
      </pc:sldChg>
      <pc:sldChg chg="addSp modSp mod">
        <pc:chgData name="Kanagasundaram, Senthil" userId="ad0514d2-f5b9-46b6-980a-a8b5153a9916" providerId="ADAL" clId="{38506DFD-4B25-4139-A22B-6C8A840DF91F}" dt="2025-06-13T03:24:18.606" v="4350" actId="20577"/>
        <pc:sldMkLst>
          <pc:docMk/>
          <pc:sldMk cId="2417848035" sldId="2147480486"/>
        </pc:sldMkLst>
      </pc:sldChg>
      <pc:sldChg chg="addSp delSp modSp mod">
        <pc:chgData name="Kanagasundaram, Senthil" userId="ad0514d2-f5b9-46b6-980a-a8b5153a9916" providerId="ADAL" clId="{38506DFD-4B25-4139-A22B-6C8A840DF91F}" dt="2025-06-15T04:00:51.679" v="5958"/>
        <pc:sldMkLst>
          <pc:docMk/>
          <pc:sldMk cId="2527978184" sldId="2147480488"/>
        </pc:sldMkLst>
        <pc:spChg chg="mod">
          <ac:chgData name="Kanagasundaram, Senthil" userId="ad0514d2-f5b9-46b6-980a-a8b5153a9916" providerId="ADAL" clId="{38506DFD-4B25-4139-A22B-6C8A840DF91F}" dt="2025-06-14T16:20:57.654" v="5012" actId="14100"/>
          <ac:spMkLst>
            <pc:docMk/>
            <pc:sldMk cId="2527978184" sldId="2147480488"/>
            <ac:spMk id="4" creationId="{C578ACA3-AADC-8C02-A715-D5F3074BF440}"/>
          </ac:spMkLst>
        </pc:spChg>
        <pc:spChg chg="mod">
          <ac:chgData name="Kanagasundaram, Senthil" userId="ad0514d2-f5b9-46b6-980a-a8b5153a9916" providerId="ADAL" clId="{38506DFD-4B25-4139-A22B-6C8A840DF91F}" dt="2025-06-14T16:20:44.424" v="5010" actId="14100"/>
          <ac:spMkLst>
            <pc:docMk/>
            <pc:sldMk cId="2527978184" sldId="2147480488"/>
            <ac:spMk id="5" creationId="{0F52009C-203E-F9D1-5093-44B75552C131}"/>
          </ac:spMkLst>
        </pc:spChg>
        <pc:spChg chg="mod">
          <ac:chgData name="Kanagasundaram, Senthil" userId="ad0514d2-f5b9-46b6-980a-a8b5153a9916" providerId="ADAL" clId="{38506DFD-4B25-4139-A22B-6C8A840DF91F}" dt="2025-06-15T04:00:51.679" v="5958"/>
          <ac:spMkLst>
            <pc:docMk/>
            <pc:sldMk cId="2527978184" sldId="2147480488"/>
            <ac:spMk id="6" creationId="{5BB1876E-8859-3EDE-E884-7999A7F95D48}"/>
          </ac:spMkLst>
        </pc:spChg>
        <pc:spChg chg="mod">
          <ac:chgData name="Kanagasundaram, Senthil" userId="ad0514d2-f5b9-46b6-980a-a8b5153a9916" providerId="ADAL" clId="{38506DFD-4B25-4139-A22B-6C8A840DF91F}" dt="2025-06-14T16:20:57.654" v="5012" actId="14100"/>
          <ac:spMkLst>
            <pc:docMk/>
            <pc:sldMk cId="2527978184" sldId="2147480488"/>
            <ac:spMk id="9" creationId="{1AC189B4-F73A-5839-D077-63290EE73F94}"/>
          </ac:spMkLst>
        </pc:spChg>
        <pc:spChg chg="add del mod">
          <ac:chgData name="Kanagasundaram, Senthil" userId="ad0514d2-f5b9-46b6-980a-a8b5153a9916" providerId="ADAL" clId="{38506DFD-4B25-4139-A22B-6C8A840DF91F}" dt="2025-06-14T14:04:32.806" v="4847" actId="478"/>
          <ac:spMkLst>
            <pc:docMk/>
            <pc:sldMk cId="2527978184" sldId="2147480488"/>
            <ac:spMk id="10" creationId="{517AF3E7-698E-6F13-6B19-67F0FE266CA9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04:01:26.331" v="5959"/>
        <pc:sldMkLst>
          <pc:docMk/>
          <pc:sldMk cId="2104941130" sldId="2147480489"/>
        </pc:sldMkLst>
        <pc:spChg chg="mod">
          <ac:chgData name="Kanagasundaram, Senthil" userId="ad0514d2-f5b9-46b6-980a-a8b5153a9916" providerId="ADAL" clId="{38506DFD-4B25-4139-A22B-6C8A840DF91F}" dt="2025-06-14T16:34:26.529" v="5245" actId="1076"/>
          <ac:spMkLst>
            <pc:docMk/>
            <pc:sldMk cId="2104941130" sldId="2147480489"/>
            <ac:spMk id="3" creationId="{1642488C-0578-9ED6-F533-D84B1771FC71}"/>
          </ac:spMkLst>
        </pc:spChg>
        <pc:spChg chg="mod">
          <ac:chgData name="Kanagasundaram, Senthil" userId="ad0514d2-f5b9-46b6-980a-a8b5153a9916" providerId="ADAL" clId="{38506DFD-4B25-4139-A22B-6C8A840DF91F}" dt="2025-06-14T13:10:15.028" v="4812" actId="108"/>
          <ac:spMkLst>
            <pc:docMk/>
            <pc:sldMk cId="2104941130" sldId="2147480489"/>
            <ac:spMk id="4" creationId="{58AB0A2A-77B8-BC84-4811-6B0E7EEF8D3C}"/>
          </ac:spMkLst>
        </pc:spChg>
        <pc:spChg chg="mod">
          <ac:chgData name="Kanagasundaram, Senthil" userId="ad0514d2-f5b9-46b6-980a-a8b5153a9916" providerId="ADAL" clId="{38506DFD-4B25-4139-A22B-6C8A840DF91F}" dt="2025-06-14T13:08:54.712" v="4801" actId="313"/>
          <ac:spMkLst>
            <pc:docMk/>
            <pc:sldMk cId="2104941130" sldId="2147480489"/>
            <ac:spMk id="5" creationId="{1B7D0112-1F19-8EC8-21F4-76E1908CF437}"/>
          </ac:spMkLst>
        </pc:spChg>
        <pc:spChg chg="mod">
          <ac:chgData name="Kanagasundaram, Senthil" userId="ad0514d2-f5b9-46b6-980a-a8b5153a9916" providerId="ADAL" clId="{38506DFD-4B25-4139-A22B-6C8A840DF91F}" dt="2025-06-15T04:01:26.331" v="5959"/>
          <ac:spMkLst>
            <pc:docMk/>
            <pc:sldMk cId="2104941130" sldId="2147480489"/>
            <ac:spMk id="6" creationId="{C00B5D7E-0BD3-B9BF-F972-55C1D9FE4700}"/>
          </ac:spMkLst>
        </pc:spChg>
        <pc:spChg chg="mod">
          <ac:chgData name="Kanagasundaram, Senthil" userId="ad0514d2-f5b9-46b6-980a-a8b5153a9916" providerId="ADAL" clId="{38506DFD-4B25-4139-A22B-6C8A840DF91F}" dt="2025-06-14T13:09:44.416" v="4804" actId="20577"/>
          <ac:spMkLst>
            <pc:docMk/>
            <pc:sldMk cId="2104941130" sldId="2147480489"/>
            <ac:spMk id="7" creationId="{A34F4918-B4ED-022D-0A89-E21C0F2620F1}"/>
          </ac:spMkLst>
        </pc:spChg>
        <pc:spChg chg="mod">
          <ac:chgData name="Kanagasundaram, Senthil" userId="ad0514d2-f5b9-46b6-980a-a8b5153a9916" providerId="ADAL" clId="{38506DFD-4B25-4139-A22B-6C8A840DF91F}" dt="2025-06-14T16:34:26.529" v="5245" actId="1076"/>
          <ac:spMkLst>
            <pc:docMk/>
            <pc:sldMk cId="2104941130" sldId="2147480489"/>
            <ac:spMk id="8" creationId="{C9B7060E-6D97-AAE7-4C5A-D78BEA5129F6}"/>
          </ac:spMkLst>
        </pc:spChg>
        <pc:spChg chg="add del mod">
          <ac:chgData name="Kanagasundaram, Senthil" userId="ad0514d2-f5b9-46b6-980a-a8b5153a9916" providerId="ADAL" clId="{38506DFD-4B25-4139-A22B-6C8A840DF91F}" dt="2025-06-14T13:02:50.283" v="4799" actId="478"/>
          <ac:spMkLst>
            <pc:docMk/>
            <pc:sldMk cId="2104941130" sldId="2147480489"/>
            <ac:spMk id="10" creationId="{D87EEE5A-7B42-B106-4BCB-283A88A6A8BC}"/>
          </ac:spMkLst>
        </pc:spChg>
      </pc:sldChg>
      <pc:sldChg chg="addSp delSp modSp mod">
        <pc:chgData name="Kanagasundaram, Senthil" userId="ad0514d2-f5b9-46b6-980a-a8b5153a9916" providerId="ADAL" clId="{38506DFD-4B25-4139-A22B-6C8A840DF91F}" dt="2025-06-15T04:00:14.968" v="5957"/>
        <pc:sldMkLst>
          <pc:docMk/>
          <pc:sldMk cId="453786293" sldId="2147480490"/>
        </pc:sldMkLst>
        <pc:spChg chg="mod">
          <ac:chgData name="Kanagasundaram, Senthil" userId="ad0514d2-f5b9-46b6-980a-a8b5153a9916" providerId="ADAL" clId="{38506DFD-4B25-4139-A22B-6C8A840DF91F}" dt="2025-06-14T16:15:07.775" v="4969" actId="20577"/>
          <ac:spMkLst>
            <pc:docMk/>
            <pc:sldMk cId="453786293" sldId="2147480490"/>
            <ac:spMk id="4" creationId="{C578ACA3-AADC-8C02-A715-D5F3074BF440}"/>
          </ac:spMkLst>
        </pc:spChg>
        <pc:spChg chg="mod">
          <ac:chgData name="Kanagasundaram, Senthil" userId="ad0514d2-f5b9-46b6-980a-a8b5153a9916" providerId="ADAL" clId="{38506DFD-4B25-4139-A22B-6C8A840DF91F}" dt="2025-06-14T16:12:08.054" v="4953"/>
          <ac:spMkLst>
            <pc:docMk/>
            <pc:sldMk cId="453786293" sldId="2147480490"/>
            <ac:spMk id="5" creationId="{0F52009C-203E-F9D1-5093-44B75552C131}"/>
          </ac:spMkLst>
        </pc:spChg>
        <pc:spChg chg="mod">
          <ac:chgData name="Kanagasundaram, Senthil" userId="ad0514d2-f5b9-46b6-980a-a8b5153a9916" providerId="ADAL" clId="{38506DFD-4B25-4139-A22B-6C8A840DF91F}" dt="2025-06-15T04:00:14.968" v="5957"/>
          <ac:spMkLst>
            <pc:docMk/>
            <pc:sldMk cId="453786293" sldId="2147480490"/>
            <ac:spMk id="6" creationId="{5BB1876E-8859-3EDE-E884-7999A7F95D48}"/>
          </ac:spMkLst>
        </pc:spChg>
        <pc:spChg chg="mod">
          <ac:chgData name="Kanagasundaram, Senthil" userId="ad0514d2-f5b9-46b6-980a-a8b5153a9916" providerId="ADAL" clId="{38506DFD-4B25-4139-A22B-6C8A840DF91F}" dt="2025-06-14T16:25:56.209" v="5102" actId="20577"/>
          <ac:spMkLst>
            <pc:docMk/>
            <pc:sldMk cId="453786293" sldId="2147480490"/>
            <ac:spMk id="8" creationId="{D028919E-6403-0550-2579-156D07CFA80D}"/>
          </ac:spMkLst>
        </pc:spChg>
        <pc:spChg chg="add">
          <ac:chgData name="Kanagasundaram, Senthil" userId="ad0514d2-f5b9-46b6-980a-a8b5153a9916" providerId="ADAL" clId="{38506DFD-4B25-4139-A22B-6C8A840DF91F}" dt="2025-06-14T16:13:16.787" v="4954"/>
          <ac:spMkLst>
            <pc:docMk/>
            <pc:sldMk cId="453786293" sldId="2147480490"/>
            <ac:spMk id="10" creationId="{A80E2285-4E53-C8D9-6BB9-BF0850DE3DF3}"/>
          </ac:spMkLst>
        </pc:spChg>
        <pc:spChg chg="add">
          <ac:chgData name="Kanagasundaram, Senthil" userId="ad0514d2-f5b9-46b6-980a-a8b5153a9916" providerId="ADAL" clId="{38506DFD-4B25-4139-A22B-6C8A840DF91F}" dt="2025-06-14T16:23:29.836" v="5013"/>
          <ac:spMkLst>
            <pc:docMk/>
            <pc:sldMk cId="453786293" sldId="2147480490"/>
            <ac:spMk id="11" creationId="{CEB89DC3-ED7E-DBFB-0B75-4677C7C259BA}"/>
          </ac:spMkLst>
        </pc:spChg>
      </pc:sldChg>
      <pc:sldChg chg="addSp delSp modSp mod">
        <pc:chgData name="Kanagasundaram, Senthil" userId="ad0514d2-f5b9-46b6-980a-a8b5153a9916" providerId="ADAL" clId="{38506DFD-4B25-4139-A22B-6C8A840DF91F}" dt="2025-06-15T03:59:36.511" v="5956"/>
        <pc:sldMkLst>
          <pc:docMk/>
          <pc:sldMk cId="1188565810" sldId="2147480491"/>
        </pc:sldMkLst>
        <pc:spChg chg="mod">
          <ac:chgData name="Kanagasundaram, Senthil" userId="ad0514d2-f5b9-46b6-980a-a8b5153a9916" providerId="ADAL" clId="{38506DFD-4B25-4139-A22B-6C8A840DF91F}" dt="2025-06-14T12:49:32.383" v="4797" actId="20577"/>
          <ac:spMkLst>
            <pc:docMk/>
            <pc:sldMk cId="1188565810" sldId="2147480491"/>
            <ac:spMk id="3" creationId="{C34EE1C7-7022-E52F-3479-93FEA4F20104}"/>
          </ac:spMkLst>
        </pc:spChg>
        <pc:spChg chg="mod">
          <ac:chgData name="Kanagasundaram, Senthil" userId="ad0514d2-f5b9-46b6-980a-a8b5153a9916" providerId="ADAL" clId="{38506DFD-4B25-4139-A22B-6C8A840DF91F}" dt="2025-06-14T16:33:29.957" v="5241" actId="1076"/>
          <ac:spMkLst>
            <pc:docMk/>
            <pc:sldMk cId="1188565810" sldId="2147480491"/>
            <ac:spMk id="4" creationId="{C578ACA3-AADC-8C02-A715-D5F3074BF440}"/>
          </ac:spMkLst>
        </pc:spChg>
        <pc:spChg chg="mod">
          <ac:chgData name="Kanagasundaram, Senthil" userId="ad0514d2-f5b9-46b6-980a-a8b5153a9916" providerId="ADAL" clId="{38506DFD-4B25-4139-A22B-6C8A840DF91F}" dt="2025-06-14T16:33:29.957" v="5241" actId="1076"/>
          <ac:spMkLst>
            <pc:docMk/>
            <pc:sldMk cId="1188565810" sldId="2147480491"/>
            <ac:spMk id="5" creationId="{0F52009C-203E-F9D1-5093-44B75552C131}"/>
          </ac:spMkLst>
        </pc:spChg>
        <pc:spChg chg="mod">
          <ac:chgData name="Kanagasundaram, Senthil" userId="ad0514d2-f5b9-46b6-980a-a8b5153a9916" providerId="ADAL" clId="{38506DFD-4B25-4139-A22B-6C8A840DF91F}" dt="2025-06-15T03:59:36.511" v="5956"/>
          <ac:spMkLst>
            <pc:docMk/>
            <pc:sldMk cId="1188565810" sldId="2147480491"/>
            <ac:spMk id="6" creationId="{5BB1876E-8859-3EDE-E884-7999A7F95D48}"/>
          </ac:spMkLst>
        </pc:spChg>
        <pc:spChg chg="mod">
          <ac:chgData name="Kanagasundaram, Senthil" userId="ad0514d2-f5b9-46b6-980a-a8b5153a9916" providerId="ADAL" clId="{38506DFD-4B25-4139-A22B-6C8A840DF91F}" dt="2025-06-14T16:29:03.447" v="5111" actId="6549"/>
          <ac:spMkLst>
            <pc:docMk/>
            <pc:sldMk cId="1188565810" sldId="2147480491"/>
            <ac:spMk id="8" creationId="{D028919E-6403-0550-2579-156D07CFA80D}"/>
          </ac:spMkLst>
        </pc:spChg>
        <pc:spChg chg="mod">
          <ac:chgData name="Kanagasundaram, Senthil" userId="ad0514d2-f5b9-46b6-980a-a8b5153a9916" providerId="ADAL" clId="{38506DFD-4B25-4139-A22B-6C8A840DF91F}" dt="2025-06-14T16:33:39.382" v="5243" actId="1076"/>
          <ac:spMkLst>
            <pc:docMk/>
            <pc:sldMk cId="1188565810" sldId="2147480491"/>
            <ac:spMk id="9" creationId="{1AC189B4-F73A-5839-D077-63290EE73F94}"/>
          </ac:spMkLst>
        </pc:spChg>
        <pc:spChg chg="add del mod">
          <ac:chgData name="Kanagasundaram, Senthil" userId="ad0514d2-f5b9-46b6-980a-a8b5153a9916" providerId="ADAL" clId="{38506DFD-4B25-4139-A22B-6C8A840DF91F}" dt="2025-06-14T12:50:18.954" v="4798" actId="478"/>
          <ac:spMkLst>
            <pc:docMk/>
            <pc:sldMk cId="1188565810" sldId="2147480491"/>
            <ac:spMk id="10" creationId="{F5263AE0-30AC-C39E-6E31-6E5FD517AA47}"/>
          </ac:spMkLst>
        </pc:spChg>
        <pc:spChg chg="add">
          <ac:chgData name="Kanagasundaram, Senthil" userId="ad0514d2-f5b9-46b6-980a-a8b5153a9916" providerId="ADAL" clId="{38506DFD-4B25-4139-A22B-6C8A840DF91F}" dt="2025-06-14T16:17:03.942" v="4970"/>
          <ac:spMkLst>
            <pc:docMk/>
            <pc:sldMk cId="1188565810" sldId="2147480491"/>
            <ac:spMk id="11" creationId="{05FC9D53-450A-EA95-B353-4CDC3C96C1E3}"/>
          </ac:spMkLst>
        </pc:spChg>
        <pc:spChg chg="add">
          <ac:chgData name="Kanagasundaram, Senthil" userId="ad0514d2-f5b9-46b6-980a-a8b5153a9916" providerId="ADAL" clId="{38506DFD-4B25-4139-A22B-6C8A840DF91F}" dt="2025-06-14T16:27:48.145" v="5103"/>
          <ac:spMkLst>
            <pc:docMk/>
            <pc:sldMk cId="1188565810" sldId="2147480491"/>
            <ac:spMk id="13" creationId="{611E8823-7EF6-9101-49F8-D4F16E849406}"/>
          </ac:spMkLst>
        </pc:spChg>
        <pc:spChg chg="add">
          <ac:chgData name="Kanagasundaram, Senthil" userId="ad0514d2-f5b9-46b6-980a-a8b5153a9916" providerId="ADAL" clId="{38506DFD-4B25-4139-A22B-6C8A840DF91F}" dt="2025-06-14T16:32:53.631" v="5239"/>
          <ac:spMkLst>
            <pc:docMk/>
            <pc:sldMk cId="1188565810" sldId="2147480491"/>
            <ac:spMk id="14" creationId="{A58F57AA-AA12-A4BD-FA23-01F81D11A07E}"/>
          </ac:spMkLst>
        </pc:spChg>
      </pc:sldChg>
      <pc:sldChg chg="addSp delSp modSp mod">
        <pc:chgData name="Kanagasundaram, Senthil" userId="ad0514d2-f5b9-46b6-980a-a8b5153a9916" providerId="ADAL" clId="{38506DFD-4B25-4139-A22B-6C8A840DF91F}" dt="2025-06-14T23:51:22.221" v="5274"/>
        <pc:sldMkLst>
          <pc:docMk/>
          <pc:sldMk cId="3046689714" sldId="2147480492"/>
        </pc:sldMkLst>
        <pc:spChg chg="mod">
          <ac:chgData name="Kanagasundaram, Senthil" userId="ad0514d2-f5b9-46b6-980a-a8b5153a9916" providerId="ADAL" clId="{38506DFD-4B25-4139-A22B-6C8A840DF91F}" dt="2025-06-14T23:25:55.745" v="5257" actId="114"/>
          <ac:spMkLst>
            <pc:docMk/>
            <pc:sldMk cId="3046689714" sldId="2147480492"/>
            <ac:spMk id="3" creationId="{E3FBB63F-65C3-6899-5BAD-C9FCC66B1697}"/>
          </ac:spMkLst>
        </pc:spChg>
        <pc:spChg chg="mod">
          <ac:chgData name="Kanagasundaram, Senthil" userId="ad0514d2-f5b9-46b6-980a-a8b5153a9916" providerId="ADAL" clId="{38506DFD-4B25-4139-A22B-6C8A840DF91F}" dt="2025-06-14T23:16:25.830" v="5249" actId="1076"/>
          <ac:spMkLst>
            <pc:docMk/>
            <pc:sldMk cId="3046689714" sldId="2147480492"/>
            <ac:spMk id="4" creationId="{571419BE-6D94-D571-06CE-573912E40665}"/>
          </ac:spMkLst>
        </pc:spChg>
        <pc:spChg chg="mod">
          <ac:chgData name="Kanagasundaram, Senthil" userId="ad0514d2-f5b9-46b6-980a-a8b5153a9916" providerId="ADAL" clId="{38506DFD-4B25-4139-A22B-6C8A840DF91F}" dt="2025-06-14T23:51:22.221" v="5274"/>
          <ac:spMkLst>
            <pc:docMk/>
            <pc:sldMk cId="3046689714" sldId="2147480492"/>
            <ac:spMk id="6" creationId="{716851AD-ADCD-0B6A-2FCA-EFD3A86178DA}"/>
          </ac:spMkLst>
        </pc:spChg>
        <pc:spChg chg="mod">
          <ac:chgData name="Kanagasundaram, Senthil" userId="ad0514d2-f5b9-46b6-980a-a8b5153a9916" providerId="ADAL" clId="{38506DFD-4B25-4139-A22B-6C8A840DF91F}" dt="2025-06-14T23:16:10.285" v="5248"/>
          <ac:spMkLst>
            <pc:docMk/>
            <pc:sldMk cId="3046689714" sldId="2147480492"/>
            <ac:spMk id="7" creationId="{EE3D0ECA-40AB-6DAB-27DA-316DD7A9F02D}"/>
          </ac:spMkLst>
        </pc:spChg>
        <pc:spChg chg="add del mod">
          <ac:chgData name="Kanagasundaram, Senthil" userId="ad0514d2-f5b9-46b6-980a-a8b5153a9916" providerId="ADAL" clId="{38506DFD-4B25-4139-A22B-6C8A840DF91F}" dt="2025-06-14T23:14:18.229" v="5246" actId="478"/>
          <ac:spMkLst>
            <pc:docMk/>
            <pc:sldMk cId="3046689714" sldId="2147480492"/>
            <ac:spMk id="10" creationId="{95BEEEF2-9796-5743-C780-8DE17441A053}"/>
          </ac:spMkLst>
        </pc:spChg>
        <pc:spChg chg="add">
          <ac:chgData name="Kanagasundaram, Senthil" userId="ad0514d2-f5b9-46b6-980a-a8b5153a9916" providerId="ADAL" clId="{38506DFD-4B25-4139-A22B-6C8A840DF91F}" dt="2025-06-14T23:16:01.784" v="5247"/>
          <ac:spMkLst>
            <pc:docMk/>
            <pc:sldMk cId="3046689714" sldId="2147480492"/>
            <ac:spMk id="11" creationId="{6EFEE1D9-22E9-73A7-B445-A1C812A0B46E}"/>
          </ac:spMkLst>
        </pc:spChg>
      </pc:sldChg>
      <pc:sldChg chg="addSp delSp modSp mod">
        <pc:chgData name="Kanagasundaram, Senthil" userId="ad0514d2-f5b9-46b6-980a-a8b5153a9916" providerId="ADAL" clId="{38506DFD-4B25-4139-A22B-6C8A840DF91F}" dt="2025-06-14T23:55:44.943" v="5296" actId="20577"/>
        <pc:sldMkLst>
          <pc:docMk/>
          <pc:sldMk cId="1760046505" sldId="2147480493"/>
        </pc:sldMkLst>
        <pc:spChg chg="mod">
          <ac:chgData name="Kanagasundaram, Senthil" userId="ad0514d2-f5b9-46b6-980a-a8b5153a9916" providerId="ADAL" clId="{38506DFD-4B25-4139-A22B-6C8A840DF91F}" dt="2025-06-14T23:50:26.242" v="5273" actId="1076"/>
          <ac:spMkLst>
            <pc:docMk/>
            <pc:sldMk cId="1760046505" sldId="2147480493"/>
            <ac:spMk id="4" creationId="{23C7FCA4-B11C-740A-4700-BB8DB0949F6E}"/>
          </ac:spMkLst>
        </pc:spChg>
        <pc:spChg chg="mod">
          <ac:chgData name="Kanagasundaram, Senthil" userId="ad0514d2-f5b9-46b6-980a-a8b5153a9916" providerId="ADAL" clId="{38506DFD-4B25-4139-A22B-6C8A840DF91F}" dt="2025-06-14T23:50:26.242" v="5273" actId="1076"/>
          <ac:spMkLst>
            <pc:docMk/>
            <pc:sldMk cId="1760046505" sldId="2147480493"/>
            <ac:spMk id="5" creationId="{40FC205E-10D9-23EE-78A1-354ED5216020}"/>
          </ac:spMkLst>
        </pc:spChg>
        <pc:spChg chg="mod">
          <ac:chgData name="Kanagasundaram, Senthil" userId="ad0514d2-f5b9-46b6-980a-a8b5153a9916" providerId="ADAL" clId="{38506DFD-4B25-4139-A22B-6C8A840DF91F}" dt="2025-06-14T23:53:23.364" v="5276" actId="1076"/>
          <ac:spMkLst>
            <pc:docMk/>
            <pc:sldMk cId="1760046505" sldId="2147480493"/>
            <ac:spMk id="6" creationId="{DC0AA83C-213D-2780-96EF-E081814E9D9E}"/>
          </ac:spMkLst>
        </pc:spChg>
        <pc:spChg chg="mod">
          <ac:chgData name="Kanagasundaram, Senthil" userId="ad0514d2-f5b9-46b6-980a-a8b5153a9916" providerId="ADAL" clId="{38506DFD-4B25-4139-A22B-6C8A840DF91F}" dt="2025-06-14T23:55:44.943" v="5296" actId="20577"/>
          <ac:spMkLst>
            <pc:docMk/>
            <pc:sldMk cId="1760046505" sldId="2147480493"/>
            <ac:spMk id="7" creationId="{6F4AC9B1-42E7-A3C9-A9D3-43C6344250B0}"/>
          </ac:spMkLst>
        </pc:spChg>
        <pc:spChg chg="add del mod">
          <ac:chgData name="Kanagasundaram, Senthil" userId="ad0514d2-f5b9-46b6-980a-a8b5153a9916" providerId="ADAL" clId="{38506DFD-4B25-4139-A22B-6C8A840DF91F}" dt="2025-06-14T23:41:50.392" v="5258" actId="478"/>
          <ac:spMkLst>
            <pc:docMk/>
            <pc:sldMk cId="1760046505" sldId="2147480493"/>
            <ac:spMk id="10" creationId="{F639EC2D-A872-B41D-8B39-6E1AB5A63943}"/>
          </ac:spMkLst>
        </pc:spChg>
      </pc:sldChg>
      <pc:sldChg chg="addSp delSp modSp mod">
        <pc:chgData name="Kanagasundaram, Senthil" userId="ad0514d2-f5b9-46b6-980a-a8b5153a9916" providerId="ADAL" clId="{38506DFD-4B25-4139-A22B-6C8A840DF91F}" dt="2025-06-15T00:00:31.245" v="5304" actId="554"/>
        <pc:sldMkLst>
          <pc:docMk/>
          <pc:sldMk cId="405523565" sldId="2147480494"/>
        </pc:sldMkLst>
        <pc:spChg chg="mod">
          <ac:chgData name="Kanagasundaram, Senthil" userId="ad0514d2-f5b9-46b6-980a-a8b5153a9916" providerId="ADAL" clId="{38506DFD-4B25-4139-A22B-6C8A840DF91F}" dt="2025-06-15T00:00:25.607" v="5303" actId="554"/>
          <ac:spMkLst>
            <pc:docMk/>
            <pc:sldMk cId="405523565" sldId="2147480494"/>
            <ac:spMk id="4" creationId="{EEE80C05-09C5-EFF5-530A-F6E9FE62F3D1}"/>
          </ac:spMkLst>
        </pc:spChg>
        <pc:spChg chg="mod">
          <ac:chgData name="Kanagasundaram, Senthil" userId="ad0514d2-f5b9-46b6-980a-a8b5153a9916" providerId="ADAL" clId="{38506DFD-4B25-4139-A22B-6C8A840DF91F}" dt="2025-06-15T00:00:25.607" v="5303" actId="554"/>
          <ac:spMkLst>
            <pc:docMk/>
            <pc:sldMk cId="405523565" sldId="2147480494"/>
            <ac:spMk id="5" creationId="{D1BAF33D-9D41-4B5E-0ADA-BFB3BD100E46}"/>
          </ac:spMkLst>
        </pc:spChg>
        <pc:spChg chg="mod">
          <ac:chgData name="Kanagasundaram, Senthil" userId="ad0514d2-f5b9-46b6-980a-a8b5153a9916" providerId="ADAL" clId="{38506DFD-4B25-4139-A22B-6C8A840DF91F}" dt="2025-06-15T00:00:31.245" v="5304" actId="554"/>
          <ac:spMkLst>
            <pc:docMk/>
            <pc:sldMk cId="405523565" sldId="2147480494"/>
            <ac:spMk id="6" creationId="{49CC7E9D-D027-D517-8041-B60B7A6D5CB8}"/>
          </ac:spMkLst>
        </pc:spChg>
        <pc:spChg chg="mod">
          <ac:chgData name="Kanagasundaram, Senthil" userId="ad0514d2-f5b9-46b6-980a-a8b5153a9916" providerId="ADAL" clId="{38506DFD-4B25-4139-A22B-6C8A840DF91F}" dt="2025-06-15T00:00:31.245" v="5304" actId="554"/>
          <ac:spMkLst>
            <pc:docMk/>
            <pc:sldMk cId="405523565" sldId="2147480494"/>
            <ac:spMk id="7" creationId="{C181EB7E-1ABA-D5B5-CC0E-58D442D46950}"/>
          </ac:spMkLst>
        </pc:spChg>
        <pc:spChg chg="add del mod">
          <ac:chgData name="Kanagasundaram, Senthil" userId="ad0514d2-f5b9-46b6-980a-a8b5153a9916" providerId="ADAL" clId="{38506DFD-4B25-4139-A22B-6C8A840DF91F}" dt="2025-06-14T23:46:59.590" v="5267" actId="478"/>
          <ac:spMkLst>
            <pc:docMk/>
            <pc:sldMk cId="405523565" sldId="2147480494"/>
            <ac:spMk id="10" creationId="{09472099-4E9C-2D4F-7E62-B0A38960AC05}"/>
          </ac:spMkLst>
        </pc:spChg>
        <pc:spChg chg="add">
          <ac:chgData name="Kanagasundaram, Senthil" userId="ad0514d2-f5b9-46b6-980a-a8b5153a9916" providerId="ADAL" clId="{38506DFD-4B25-4139-A22B-6C8A840DF91F}" dt="2025-06-14T23:57:26.055" v="5298"/>
          <ac:spMkLst>
            <pc:docMk/>
            <pc:sldMk cId="405523565" sldId="2147480494"/>
            <ac:spMk id="11" creationId="{C25BE85E-3224-C2E6-B7AA-4C56DCD2A502}"/>
          </ac:spMkLst>
        </pc:spChg>
      </pc:sldChg>
      <pc:sldChg chg="addSp delSp modSp mod">
        <pc:chgData name="Kanagasundaram, Senthil" userId="ad0514d2-f5b9-46b6-980a-a8b5153a9916" providerId="ADAL" clId="{38506DFD-4B25-4139-A22B-6C8A840DF91F}" dt="2025-06-15T03:56:18.921" v="5953" actId="552"/>
        <pc:sldMkLst>
          <pc:docMk/>
          <pc:sldMk cId="4194400554" sldId="2147480495"/>
        </pc:sldMkLst>
        <pc:spChg chg="mod">
          <ac:chgData name="Kanagasundaram, Senthil" userId="ad0514d2-f5b9-46b6-980a-a8b5153a9916" providerId="ADAL" clId="{38506DFD-4B25-4139-A22B-6C8A840DF91F}" dt="2025-06-15T03:56:18.921" v="5953" actId="552"/>
          <ac:spMkLst>
            <pc:docMk/>
            <pc:sldMk cId="4194400554" sldId="2147480495"/>
            <ac:spMk id="4" creationId="{2CD70207-EC54-76D3-A970-6E8CAEE5F7BA}"/>
          </ac:spMkLst>
        </pc:spChg>
        <pc:spChg chg="mod">
          <ac:chgData name="Kanagasundaram, Senthil" userId="ad0514d2-f5b9-46b6-980a-a8b5153a9916" providerId="ADAL" clId="{38506DFD-4B25-4139-A22B-6C8A840DF91F}" dt="2025-06-15T03:55:52.069" v="5950" actId="554"/>
          <ac:spMkLst>
            <pc:docMk/>
            <pc:sldMk cId="4194400554" sldId="2147480495"/>
            <ac:spMk id="5" creationId="{97734820-2295-F988-D39C-E63677E65635}"/>
          </ac:spMkLst>
        </pc:spChg>
        <pc:spChg chg="mod">
          <ac:chgData name="Kanagasundaram, Senthil" userId="ad0514d2-f5b9-46b6-980a-a8b5153a9916" providerId="ADAL" clId="{38506DFD-4B25-4139-A22B-6C8A840DF91F}" dt="2025-06-15T03:56:11.902" v="5952" actId="1076"/>
          <ac:spMkLst>
            <pc:docMk/>
            <pc:sldMk cId="4194400554" sldId="2147480495"/>
            <ac:spMk id="6" creationId="{6CA965D5-62E0-673A-98A9-519DBAAE0B5B}"/>
          </ac:spMkLst>
        </pc:spChg>
        <pc:spChg chg="mod">
          <ac:chgData name="Kanagasundaram, Senthil" userId="ad0514d2-f5b9-46b6-980a-a8b5153a9916" providerId="ADAL" clId="{38506DFD-4B25-4139-A22B-6C8A840DF91F}" dt="2025-06-15T03:56:18.921" v="5953" actId="552"/>
          <ac:spMkLst>
            <pc:docMk/>
            <pc:sldMk cId="4194400554" sldId="2147480495"/>
            <ac:spMk id="7" creationId="{50415359-FF54-DB7A-F60A-AC3DC0FFDC7A}"/>
          </ac:spMkLst>
        </pc:spChg>
        <pc:spChg chg="add del mod">
          <ac:chgData name="Kanagasundaram, Senthil" userId="ad0514d2-f5b9-46b6-980a-a8b5153a9916" providerId="ADAL" clId="{38506DFD-4B25-4139-A22B-6C8A840DF91F}" dt="2025-06-15T02:13:26.259" v="5563" actId="478"/>
          <ac:spMkLst>
            <pc:docMk/>
            <pc:sldMk cId="4194400554" sldId="2147480495"/>
            <ac:spMk id="10" creationId="{1A7B5200-B45D-2849-5CF9-8FA16039792E}"/>
          </ac:spMkLst>
        </pc:spChg>
        <pc:spChg chg="add del mod">
          <ac:chgData name="Kanagasundaram, Senthil" userId="ad0514d2-f5b9-46b6-980a-a8b5153a9916" providerId="ADAL" clId="{38506DFD-4B25-4139-A22B-6C8A840DF91F}" dt="2025-06-15T00:17:45.729" v="5343" actId="478"/>
          <ac:spMkLst>
            <pc:docMk/>
            <pc:sldMk cId="4194400554" sldId="2147480495"/>
            <ac:spMk id="11" creationId="{DA0D7476-B417-7177-12CE-69BA30CA3DFA}"/>
          </ac:spMkLst>
        </pc:spChg>
        <pc:spChg chg="add mod">
          <ac:chgData name="Kanagasundaram, Senthil" userId="ad0514d2-f5b9-46b6-980a-a8b5153a9916" providerId="ADAL" clId="{38506DFD-4B25-4139-A22B-6C8A840DF91F}" dt="2025-06-15T02:13:31.166" v="5565" actId="1076"/>
          <ac:spMkLst>
            <pc:docMk/>
            <pc:sldMk cId="4194400554" sldId="2147480495"/>
            <ac:spMk id="12" creationId="{E1C53084-8329-3950-25EC-E2984C72CF3C}"/>
          </ac:spMkLst>
        </pc:spChg>
        <pc:spChg chg="add">
          <ac:chgData name="Kanagasundaram, Senthil" userId="ad0514d2-f5b9-46b6-980a-a8b5153a9916" providerId="ADAL" clId="{38506DFD-4B25-4139-A22B-6C8A840DF91F}" dt="2025-06-15T03:55:36.785" v="5948"/>
          <ac:spMkLst>
            <pc:docMk/>
            <pc:sldMk cId="4194400554" sldId="2147480495"/>
            <ac:spMk id="14" creationId="{329E3273-F591-4556-845E-486E7D2250A0}"/>
          </ac:spMkLst>
        </pc:spChg>
      </pc:sldChg>
      <pc:sldChg chg="addSp delSp modSp mod">
        <pc:chgData name="Kanagasundaram, Senthil" userId="ad0514d2-f5b9-46b6-980a-a8b5153a9916" providerId="ADAL" clId="{38506DFD-4B25-4139-A22B-6C8A840DF91F}" dt="2025-06-15T03:57:40.119" v="5955" actId="108"/>
        <pc:sldMkLst>
          <pc:docMk/>
          <pc:sldMk cId="1290625696" sldId="2147480496"/>
        </pc:sldMkLst>
        <pc:spChg chg="mod">
          <ac:chgData name="Kanagasundaram, Senthil" userId="ad0514d2-f5b9-46b6-980a-a8b5153a9916" providerId="ADAL" clId="{38506DFD-4B25-4139-A22B-6C8A840DF91F}" dt="2025-06-15T00:22:17.630" v="5352" actId="6549"/>
          <ac:spMkLst>
            <pc:docMk/>
            <pc:sldMk cId="1290625696" sldId="2147480496"/>
            <ac:spMk id="3" creationId="{0DE56BEE-58BB-8674-DD66-78B2B140D7E5}"/>
          </ac:spMkLst>
        </pc:spChg>
        <pc:spChg chg="mod">
          <ac:chgData name="Kanagasundaram, Senthil" userId="ad0514d2-f5b9-46b6-980a-a8b5153a9916" providerId="ADAL" clId="{38506DFD-4B25-4139-A22B-6C8A840DF91F}" dt="2025-06-15T00:49:43.061" v="5482" actId="5793"/>
          <ac:spMkLst>
            <pc:docMk/>
            <pc:sldMk cId="1290625696" sldId="2147480496"/>
            <ac:spMk id="4" creationId="{23D80673-0583-5DDF-CAF3-E09C2C2950B8}"/>
          </ac:spMkLst>
        </pc:spChg>
        <pc:spChg chg="mod">
          <ac:chgData name="Kanagasundaram, Senthil" userId="ad0514d2-f5b9-46b6-980a-a8b5153a9916" providerId="ADAL" clId="{38506DFD-4B25-4139-A22B-6C8A840DF91F}" dt="2025-06-15T00:18:53.389" v="5345"/>
          <ac:spMkLst>
            <pc:docMk/>
            <pc:sldMk cId="1290625696" sldId="2147480496"/>
            <ac:spMk id="5" creationId="{0652AF3E-D19C-1D36-1FD5-AD2606FE7869}"/>
          </ac:spMkLst>
        </pc:spChg>
        <pc:spChg chg="mod">
          <ac:chgData name="Kanagasundaram, Senthil" userId="ad0514d2-f5b9-46b6-980a-a8b5153a9916" providerId="ADAL" clId="{38506DFD-4B25-4139-A22B-6C8A840DF91F}" dt="2025-06-15T03:57:40.119" v="5955" actId="108"/>
          <ac:spMkLst>
            <pc:docMk/>
            <pc:sldMk cId="1290625696" sldId="2147480496"/>
            <ac:spMk id="6" creationId="{989846BD-EE0C-D323-A689-18E1C035ECA9}"/>
          </ac:spMkLst>
        </pc:spChg>
        <pc:spChg chg="mod">
          <ac:chgData name="Kanagasundaram, Senthil" userId="ad0514d2-f5b9-46b6-980a-a8b5153a9916" providerId="ADAL" clId="{38506DFD-4B25-4139-A22B-6C8A840DF91F}" dt="2025-06-15T00:29:21.963" v="5397"/>
          <ac:spMkLst>
            <pc:docMk/>
            <pc:sldMk cId="1290625696" sldId="2147480496"/>
            <ac:spMk id="8" creationId="{11C68B63-BE15-14AF-536E-AF664195AF07}"/>
          </ac:spMkLst>
        </pc:spChg>
        <pc:spChg chg="mod">
          <ac:chgData name="Kanagasundaram, Senthil" userId="ad0514d2-f5b9-46b6-980a-a8b5153a9916" providerId="ADAL" clId="{38506DFD-4B25-4139-A22B-6C8A840DF91F}" dt="2025-06-15T00:20:58.997" v="5351" actId="554"/>
          <ac:spMkLst>
            <pc:docMk/>
            <pc:sldMk cId="1290625696" sldId="2147480496"/>
            <ac:spMk id="9" creationId="{62A25DCB-C774-9ED6-E9A2-E7751A4C4164}"/>
          </ac:spMkLst>
        </pc:spChg>
        <pc:spChg chg="add del mod">
          <ac:chgData name="Kanagasundaram, Senthil" userId="ad0514d2-f5b9-46b6-980a-a8b5153a9916" providerId="ADAL" clId="{38506DFD-4B25-4139-A22B-6C8A840DF91F}" dt="2025-06-15T00:19:00.628" v="5346" actId="478"/>
          <ac:spMkLst>
            <pc:docMk/>
            <pc:sldMk cId="1290625696" sldId="2147480496"/>
            <ac:spMk id="10" creationId="{785AD473-1463-A46D-FAEB-5A778E67E2EF}"/>
          </ac:spMkLst>
        </pc:spChg>
        <pc:spChg chg="add">
          <ac:chgData name="Kanagasundaram, Senthil" userId="ad0514d2-f5b9-46b6-980a-a8b5153a9916" providerId="ADAL" clId="{38506DFD-4B25-4139-A22B-6C8A840DF91F}" dt="2025-06-15T00:18:45.440" v="5344"/>
          <ac:spMkLst>
            <pc:docMk/>
            <pc:sldMk cId="1290625696" sldId="2147480496"/>
            <ac:spMk id="11" creationId="{CE7F90B7-0B73-C6CD-ABA5-F4FB6E594E08}"/>
          </ac:spMkLst>
        </pc:spChg>
        <pc:spChg chg="add">
          <ac:chgData name="Kanagasundaram, Senthil" userId="ad0514d2-f5b9-46b6-980a-a8b5153a9916" providerId="ADAL" clId="{38506DFD-4B25-4139-A22B-6C8A840DF91F}" dt="2025-06-15T00:20:08.406" v="5348"/>
          <ac:spMkLst>
            <pc:docMk/>
            <pc:sldMk cId="1290625696" sldId="2147480496"/>
            <ac:spMk id="12" creationId="{FBD67A93-6B82-157A-9CE6-203A78DEF7A2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03:51:09.970" v="5943" actId="20577"/>
        <pc:sldMkLst>
          <pc:docMk/>
          <pc:sldMk cId="3196261279" sldId="2147480497"/>
        </pc:sldMkLst>
        <pc:spChg chg="mod">
          <ac:chgData name="Kanagasundaram, Senthil" userId="ad0514d2-f5b9-46b6-980a-a8b5153a9916" providerId="ADAL" clId="{38506DFD-4B25-4139-A22B-6C8A840DF91F}" dt="2025-06-15T00:49:36.280" v="5479" actId="20577"/>
          <ac:spMkLst>
            <pc:docMk/>
            <pc:sldMk cId="3196261279" sldId="2147480497"/>
            <ac:spMk id="4" creationId="{218BD27D-B1A4-4B39-EE06-F257F0E82B00}"/>
          </ac:spMkLst>
        </pc:spChg>
        <pc:spChg chg="mod">
          <ac:chgData name="Kanagasundaram, Senthil" userId="ad0514d2-f5b9-46b6-980a-a8b5153a9916" providerId="ADAL" clId="{38506DFD-4B25-4139-A22B-6C8A840DF91F}" dt="2025-06-15T00:23:41.337" v="5353"/>
          <ac:spMkLst>
            <pc:docMk/>
            <pc:sldMk cId="3196261279" sldId="2147480497"/>
            <ac:spMk id="5" creationId="{7E6E895B-F36F-D525-9E25-7E846BF96AF3}"/>
          </ac:spMkLst>
        </pc:spChg>
        <pc:spChg chg="mod">
          <ac:chgData name="Kanagasundaram, Senthil" userId="ad0514d2-f5b9-46b6-980a-a8b5153a9916" providerId="ADAL" clId="{38506DFD-4B25-4139-A22B-6C8A840DF91F}" dt="2025-06-15T03:51:09.970" v="5943" actId="20577"/>
          <ac:spMkLst>
            <pc:docMk/>
            <pc:sldMk cId="3196261279" sldId="2147480497"/>
            <ac:spMk id="6" creationId="{782742B5-41E1-9D38-FE40-A3FECD0DCD75}"/>
          </ac:spMkLst>
        </pc:spChg>
        <pc:spChg chg="mod">
          <ac:chgData name="Kanagasundaram, Senthil" userId="ad0514d2-f5b9-46b6-980a-a8b5153a9916" providerId="ADAL" clId="{38506DFD-4B25-4139-A22B-6C8A840DF91F}" dt="2025-06-15T00:29:16.345" v="5394"/>
          <ac:spMkLst>
            <pc:docMk/>
            <pc:sldMk cId="3196261279" sldId="2147480497"/>
            <ac:spMk id="8" creationId="{07B59EB3-4C3C-B652-9C08-58AACFC35526}"/>
          </ac:spMkLst>
        </pc:spChg>
        <pc:spChg chg="mod">
          <ac:chgData name="Kanagasundaram, Senthil" userId="ad0514d2-f5b9-46b6-980a-a8b5153a9916" providerId="ADAL" clId="{38506DFD-4B25-4139-A22B-6C8A840DF91F}" dt="2025-06-15T00:27:56.468" v="5384" actId="1076"/>
          <ac:spMkLst>
            <pc:docMk/>
            <pc:sldMk cId="3196261279" sldId="2147480497"/>
            <ac:spMk id="9" creationId="{570191DF-F96F-8085-D663-4C5FDF81742D}"/>
          </ac:spMkLst>
        </pc:spChg>
        <pc:spChg chg="add del mod">
          <ac:chgData name="Kanagasundaram, Senthil" userId="ad0514d2-f5b9-46b6-980a-a8b5153a9916" providerId="ADAL" clId="{38506DFD-4B25-4139-A22B-6C8A840DF91F}" dt="2025-06-15T00:28:07.842" v="5385" actId="478"/>
          <ac:spMkLst>
            <pc:docMk/>
            <pc:sldMk cId="3196261279" sldId="2147480497"/>
            <ac:spMk id="10" creationId="{AECDFB78-EE98-FF0D-2841-975CD89E2A84}"/>
          </ac:spMkLst>
        </pc:spChg>
      </pc:sldChg>
      <pc:sldChg chg="addSp delSp modSp mod">
        <pc:chgData name="Kanagasundaram, Senthil" userId="ad0514d2-f5b9-46b6-980a-a8b5153a9916" providerId="ADAL" clId="{38506DFD-4B25-4139-A22B-6C8A840DF91F}" dt="2025-06-15T03:49:31.204" v="5930" actId="108"/>
        <pc:sldMkLst>
          <pc:docMk/>
          <pc:sldMk cId="1239195161" sldId="2147480498"/>
        </pc:sldMkLst>
        <pc:spChg chg="mod">
          <ac:chgData name="Kanagasundaram, Senthil" userId="ad0514d2-f5b9-46b6-980a-a8b5153a9916" providerId="ADAL" clId="{38506DFD-4B25-4139-A22B-6C8A840DF91F}" dt="2025-06-15T00:50:05.791" v="5494" actId="20577"/>
          <ac:spMkLst>
            <pc:docMk/>
            <pc:sldMk cId="1239195161" sldId="2147480498"/>
            <ac:spMk id="4" creationId="{8138EF85-6C0C-7ACE-438A-A1EB461ABC77}"/>
          </ac:spMkLst>
        </pc:spChg>
        <pc:spChg chg="mod">
          <ac:chgData name="Kanagasundaram, Senthil" userId="ad0514d2-f5b9-46b6-980a-a8b5153a9916" providerId="ADAL" clId="{38506DFD-4B25-4139-A22B-6C8A840DF91F}" dt="2025-06-15T00:32:19.945" v="5410" actId="1076"/>
          <ac:spMkLst>
            <pc:docMk/>
            <pc:sldMk cId="1239195161" sldId="2147480498"/>
            <ac:spMk id="5" creationId="{74305BD4-423C-57F3-0BDA-E831011C2C5F}"/>
          </ac:spMkLst>
        </pc:spChg>
        <pc:spChg chg="mod">
          <ac:chgData name="Kanagasundaram, Senthil" userId="ad0514d2-f5b9-46b6-980a-a8b5153a9916" providerId="ADAL" clId="{38506DFD-4B25-4139-A22B-6C8A840DF91F}" dt="2025-06-15T03:49:31.204" v="5930" actId="108"/>
          <ac:spMkLst>
            <pc:docMk/>
            <pc:sldMk cId="1239195161" sldId="2147480498"/>
            <ac:spMk id="6" creationId="{74571703-0109-CF41-AF18-0D57DDACE955}"/>
          </ac:spMkLst>
        </pc:spChg>
        <pc:spChg chg="mod">
          <ac:chgData name="Kanagasundaram, Senthil" userId="ad0514d2-f5b9-46b6-980a-a8b5153a9916" providerId="ADAL" clId="{38506DFD-4B25-4139-A22B-6C8A840DF91F}" dt="2025-06-15T00:29:09.664" v="5393" actId="20577"/>
          <ac:spMkLst>
            <pc:docMk/>
            <pc:sldMk cId="1239195161" sldId="2147480498"/>
            <ac:spMk id="8" creationId="{20B29305-CEC5-8C4E-265F-9FA24949E342}"/>
          </ac:spMkLst>
        </pc:spChg>
        <pc:spChg chg="mod">
          <ac:chgData name="Kanagasundaram, Senthil" userId="ad0514d2-f5b9-46b6-980a-a8b5153a9916" providerId="ADAL" clId="{38506DFD-4B25-4139-A22B-6C8A840DF91F}" dt="2025-06-15T00:32:30.705" v="5413" actId="554"/>
          <ac:spMkLst>
            <pc:docMk/>
            <pc:sldMk cId="1239195161" sldId="2147480498"/>
            <ac:spMk id="9" creationId="{5BD6EF47-A43D-1D5B-DC08-C13BD9364D40}"/>
          </ac:spMkLst>
        </pc:spChg>
        <pc:spChg chg="add del mod">
          <ac:chgData name="Kanagasundaram, Senthil" userId="ad0514d2-f5b9-46b6-980a-a8b5153a9916" providerId="ADAL" clId="{38506DFD-4B25-4139-A22B-6C8A840DF91F}" dt="2025-06-15T00:32:08.962" v="5408" actId="478"/>
          <ac:spMkLst>
            <pc:docMk/>
            <pc:sldMk cId="1239195161" sldId="2147480498"/>
            <ac:spMk id="10" creationId="{CD7FDCE6-D97A-62FA-8D75-195717C03D6A}"/>
          </ac:spMkLst>
        </pc:spChg>
        <pc:spChg chg="add">
          <ac:chgData name="Kanagasundaram, Senthil" userId="ad0514d2-f5b9-46b6-980a-a8b5153a9916" providerId="ADAL" clId="{38506DFD-4B25-4139-A22B-6C8A840DF91F}" dt="2025-06-15T00:31:34.170" v="5400"/>
          <ac:spMkLst>
            <pc:docMk/>
            <pc:sldMk cId="1239195161" sldId="2147480498"/>
            <ac:spMk id="11" creationId="{2AB32327-C270-A93C-25B0-02B015D0CE87}"/>
          </ac:spMkLst>
        </pc:spChg>
        <pc:spChg chg="add">
          <ac:chgData name="Kanagasundaram, Senthil" userId="ad0514d2-f5b9-46b6-980a-a8b5153a9916" providerId="ADAL" clId="{38506DFD-4B25-4139-A22B-6C8A840DF91F}" dt="2025-06-15T03:48:41.474" v="5924"/>
          <ac:spMkLst>
            <pc:docMk/>
            <pc:sldMk cId="1239195161" sldId="2147480498"/>
            <ac:spMk id="12" creationId="{FB831E05-BDF7-AFCD-B3B3-57ED0222B10B}"/>
          </ac:spMkLst>
        </pc:spChg>
      </pc:sldChg>
      <pc:sldChg chg="addSp modSp mod">
        <pc:chgData name="Kanagasundaram, Senthil" userId="ad0514d2-f5b9-46b6-980a-a8b5153a9916" providerId="ADAL" clId="{38506DFD-4B25-4139-A22B-6C8A840DF91F}" dt="2025-06-15T03:47:47.609" v="5923" actId="554"/>
        <pc:sldMkLst>
          <pc:docMk/>
          <pc:sldMk cId="4203979459" sldId="2147480499"/>
        </pc:sldMkLst>
        <pc:spChg chg="mod">
          <ac:chgData name="Kanagasundaram, Senthil" userId="ad0514d2-f5b9-46b6-980a-a8b5153a9916" providerId="ADAL" clId="{38506DFD-4B25-4139-A22B-6C8A840DF91F}" dt="2025-06-15T03:47:41.275" v="5922" actId="554"/>
          <ac:spMkLst>
            <pc:docMk/>
            <pc:sldMk cId="4203979459" sldId="2147480499"/>
            <ac:spMk id="4" creationId="{E3E0BA4C-B3FC-3DB6-1B5C-83913D1192D1}"/>
          </ac:spMkLst>
        </pc:spChg>
        <pc:spChg chg="mod">
          <ac:chgData name="Kanagasundaram, Senthil" userId="ad0514d2-f5b9-46b6-980a-a8b5153a9916" providerId="ADAL" clId="{38506DFD-4B25-4139-A22B-6C8A840DF91F}" dt="2025-06-15T03:47:41.275" v="5922" actId="554"/>
          <ac:spMkLst>
            <pc:docMk/>
            <pc:sldMk cId="4203979459" sldId="2147480499"/>
            <ac:spMk id="5" creationId="{ABADFB5E-4735-EA4C-38BA-D5FFF1134C06}"/>
          </ac:spMkLst>
        </pc:spChg>
        <pc:spChg chg="mod">
          <ac:chgData name="Kanagasundaram, Senthil" userId="ad0514d2-f5b9-46b6-980a-a8b5153a9916" providerId="ADAL" clId="{38506DFD-4B25-4139-A22B-6C8A840DF91F}" dt="2025-06-15T03:47:47.609" v="5923" actId="554"/>
          <ac:spMkLst>
            <pc:docMk/>
            <pc:sldMk cId="4203979459" sldId="2147480499"/>
            <ac:spMk id="6" creationId="{2DC7B856-B963-E6FF-3D77-FCA116A00909}"/>
          </ac:spMkLst>
        </pc:spChg>
        <pc:spChg chg="mod">
          <ac:chgData name="Kanagasundaram, Senthil" userId="ad0514d2-f5b9-46b6-980a-a8b5153a9916" providerId="ADAL" clId="{38506DFD-4B25-4139-A22B-6C8A840DF91F}" dt="2025-06-15T03:47:47.609" v="5923" actId="554"/>
          <ac:spMkLst>
            <pc:docMk/>
            <pc:sldMk cId="4203979459" sldId="2147480499"/>
            <ac:spMk id="9" creationId="{C1E2065E-E32A-59EE-FE87-8C081F120C21}"/>
          </ac:spMkLst>
        </pc:spChg>
        <pc:spChg chg="add mod">
          <ac:chgData name="Kanagasundaram, Senthil" userId="ad0514d2-f5b9-46b6-980a-a8b5153a9916" providerId="ADAL" clId="{38506DFD-4B25-4139-A22B-6C8A840DF91F}" dt="2025-06-15T02:12:49.032" v="5560" actId="20577"/>
          <ac:spMkLst>
            <pc:docMk/>
            <pc:sldMk cId="4203979459" sldId="2147480499"/>
            <ac:spMk id="10" creationId="{DD07CF86-20FB-FE58-4F5C-0488C2295A12}"/>
          </ac:spMkLst>
        </pc:spChg>
      </pc:sldChg>
      <pc:sldChg chg="addSp delSp modSp mod">
        <pc:chgData name="Kanagasundaram, Senthil" userId="ad0514d2-f5b9-46b6-980a-a8b5153a9916" providerId="ADAL" clId="{38506DFD-4B25-4139-A22B-6C8A840DF91F}" dt="2025-06-15T02:13:04.032" v="5562"/>
        <pc:sldMkLst>
          <pc:docMk/>
          <pc:sldMk cId="1297285323" sldId="2147480500"/>
        </pc:sldMkLst>
        <pc:spChg chg="mod">
          <ac:chgData name="Kanagasundaram, Senthil" userId="ad0514d2-f5b9-46b6-980a-a8b5153a9916" providerId="ADAL" clId="{38506DFD-4B25-4139-A22B-6C8A840DF91F}" dt="2025-06-15T02:06:06.582" v="5525"/>
          <ac:spMkLst>
            <pc:docMk/>
            <pc:sldMk cId="1297285323" sldId="2147480500"/>
            <ac:spMk id="5" creationId="{9EB4A509-9695-5A3D-9939-91ABC28FE623}"/>
          </ac:spMkLst>
        </pc:spChg>
        <pc:spChg chg="mod">
          <ac:chgData name="Kanagasundaram, Senthil" userId="ad0514d2-f5b9-46b6-980a-a8b5153a9916" providerId="ADAL" clId="{38506DFD-4B25-4139-A22B-6C8A840DF91F}" dt="2025-06-15T02:09:16.870" v="5538" actId="1076"/>
          <ac:spMkLst>
            <pc:docMk/>
            <pc:sldMk cId="1297285323" sldId="2147480500"/>
            <ac:spMk id="6" creationId="{3B159AB5-57CF-0FA0-B0AA-6B15C3FF949C}"/>
          </ac:spMkLst>
        </pc:spChg>
        <pc:spChg chg="mod">
          <ac:chgData name="Kanagasundaram, Senthil" userId="ad0514d2-f5b9-46b6-980a-a8b5153a9916" providerId="ADAL" clId="{38506DFD-4B25-4139-A22B-6C8A840DF91F}" dt="2025-06-15T02:09:11.185" v="5537" actId="1076"/>
          <ac:spMkLst>
            <pc:docMk/>
            <pc:sldMk cId="1297285323" sldId="2147480500"/>
            <ac:spMk id="7" creationId="{E4780445-9C7B-49A5-DDDA-E117111CB0A7}"/>
          </ac:spMkLst>
        </pc:spChg>
        <pc:spChg chg="add del mod">
          <ac:chgData name="Kanagasundaram, Senthil" userId="ad0514d2-f5b9-46b6-980a-a8b5153a9916" providerId="ADAL" clId="{38506DFD-4B25-4139-A22B-6C8A840DF91F}" dt="2025-06-15T02:13:03.227" v="5561" actId="478"/>
          <ac:spMkLst>
            <pc:docMk/>
            <pc:sldMk cId="1297285323" sldId="2147480500"/>
            <ac:spMk id="10" creationId="{BCA9D1FF-1689-D6E6-2E28-8A89C9168FE3}"/>
          </ac:spMkLst>
        </pc:spChg>
        <pc:spChg chg="add">
          <ac:chgData name="Kanagasundaram, Senthil" userId="ad0514d2-f5b9-46b6-980a-a8b5153a9916" providerId="ADAL" clId="{38506DFD-4B25-4139-A22B-6C8A840DF91F}" dt="2025-06-15T02:07:47.329" v="5527"/>
          <ac:spMkLst>
            <pc:docMk/>
            <pc:sldMk cId="1297285323" sldId="2147480500"/>
            <ac:spMk id="11" creationId="{D9D7384D-06DB-E9CC-8078-40A00C2F5A8E}"/>
          </ac:spMkLst>
        </pc:spChg>
        <pc:spChg chg="add mod">
          <ac:chgData name="Kanagasundaram, Senthil" userId="ad0514d2-f5b9-46b6-980a-a8b5153a9916" providerId="ADAL" clId="{38506DFD-4B25-4139-A22B-6C8A840DF91F}" dt="2025-06-15T02:13:04.032" v="5562"/>
          <ac:spMkLst>
            <pc:docMk/>
            <pc:sldMk cId="1297285323" sldId="2147480500"/>
            <ac:spMk id="12" creationId="{54ED2D68-91B5-D30C-B845-0596450F731A}"/>
          </ac:spMkLst>
        </pc:spChg>
      </pc:sldChg>
      <pc:sldChg chg="addSp delSp modSp mod">
        <pc:chgData name="Kanagasundaram, Senthil" userId="ad0514d2-f5b9-46b6-980a-a8b5153a9916" providerId="ADAL" clId="{38506DFD-4B25-4139-A22B-6C8A840DF91F}" dt="2025-06-15T02:28:48.897" v="5601" actId="552"/>
        <pc:sldMkLst>
          <pc:docMk/>
          <pc:sldMk cId="3454177366" sldId="2147480501"/>
        </pc:sldMkLst>
        <pc:spChg chg="mod">
          <ac:chgData name="Kanagasundaram, Senthil" userId="ad0514d2-f5b9-46b6-980a-a8b5153a9916" providerId="ADAL" clId="{38506DFD-4B25-4139-A22B-6C8A840DF91F}" dt="2025-06-15T02:28:48.897" v="5601" actId="552"/>
          <ac:spMkLst>
            <pc:docMk/>
            <pc:sldMk cId="3454177366" sldId="2147480501"/>
            <ac:spMk id="4" creationId="{BA3F475C-68AB-D0B8-E406-CAE784A102E9}"/>
          </ac:spMkLst>
        </pc:spChg>
        <pc:spChg chg="mod">
          <ac:chgData name="Kanagasundaram, Senthil" userId="ad0514d2-f5b9-46b6-980a-a8b5153a9916" providerId="ADAL" clId="{38506DFD-4B25-4139-A22B-6C8A840DF91F}" dt="2025-06-15T02:28:43.961" v="5600" actId="554"/>
          <ac:spMkLst>
            <pc:docMk/>
            <pc:sldMk cId="3454177366" sldId="2147480501"/>
            <ac:spMk id="5" creationId="{88E0FE8C-AED9-D892-DC0C-FDE4A4E24BFA}"/>
          </ac:spMkLst>
        </pc:spChg>
        <pc:spChg chg="mod">
          <ac:chgData name="Kanagasundaram, Senthil" userId="ad0514d2-f5b9-46b6-980a-a8b5153a9916" providerId="ADAL" clId="{38506DFD-4B25-4139-A22B-6C8A840DF91F}" dt="2025-06-15T02:28:38.371" v="5599" actId="554"/>
          <ac:spMkLst>
            <pc:docMk/>
            <pc:sldMk cId="3454177366" sldId="2147480501"/>
            <ac:spMk id="6" creationId="{C359F110-4ECA-8A92-8CBA-34E19B215652}"/>
          </ac:spMkLst>
        </pc:spChg>
        <pc:spChg chg="mod">
          <ac:chgData name="Kanagasundaram, Senthil" userId="ad0514d2-f5b9-46b6-980a-a8b5153a9916" providerId="ADAL" clId="{38506DFD-4B25-4139-A22B-6C8A840DF91F}" dt="2025-06-15T02:28:48.897" v="5601" actId="552"/>
          <ac:spMkLst>
            <pc:docMk/>
            <pc:sldMk cId="3454177366" sldId="2147480501"/>
            <ac:spMk id="7" creationId="{64CB0172-EB3B-2C62-105A-B1DCDB9583C0}"/>
          </ac:spMkLst>
        </pc:spChg>
        <pc:spChg chg="mod">
          <ac:chgData name="Kanagasundaram, Senthil" userId="ad0514d2-f5b9-46b6-980a-a8b5153a9916" providerId="ADAL" clId="{38506DFD-4B25-4139-A22B-6C8A840DF91F}" dt="2025-06-15T02:22:06.565" v="5576" actId="108"/>
          <ac:spMkLst>
            <pc:docMk/>
            <pc:sldMk cId="3454177366" sldId="2147480501"/>
            <ac:spMk id="8" creationId="{409809EC-20A3-EDF2-F5B3-DE196151529E}"/>
          </ac:spMkLst>
        </pc:spChg>
        <pc:spChg chg="add del mod">
          <ac:chgData name="Kanagasundaram, Senthil" userId="ad0514d2-f5b9-46b6-980a-a8b5153a9916" providerId="ADAL" clId="{38506DFD-4B25-4139-A22B-6C8A840DF91F}" dt="2025-06-15T02:20:01.209" v="5573" actId="478"/>
          <ac:spMkLst>
            <pc:docMk/>
            <pc:sldMk cId="3454177366" sldId="2147480501"/>
            <ac:spMk id="10" creationId="{7C604893-E28E-7901-7E65-1209A3B92398}"/>
          </ac:spMkLst>
        </pc:spChg>
        <pc:spChg chg="add">
          <ac:chgData name="Kanagasundaram, Senthil" userId="ad0514d2-f5b9-46b6-980a-a8b5153a9916" providerId="ADAL" clId="{38506DFD-4B25-4139-A22B-6C8A840DF91F}" dt="2025-06-15T02:17:13.863" v="5566"/>
          <ac:spMkLst>
            <pc:docMk/>
            <pc:sldMk cId="3454177366" sldId="2147480501"/>
            <ac:spMk id="11" creationId="{0E115699-2085-207B-FEC4-88FCB4C16631}"/>
          </ac:spMkLst>
        </pc:spChg>
        <pc:spChg chg="add">
          <ac:chgData name="Kanagasundaram, Senthil" userId="ad0514d2-f5b9-46b6-980a-a8b5153a9916" providerId="ADAL" clId="{38506DFD-4B25-4139-A22B-6C8A840DF91F}" dt="2025-06-15T02:19:47.949" v="5571"/>
          <ac:spMkLst>
            <pc:docMk/>
            <pc:sldMk cId="3454177366" sldId="2147480501"/>
            <ac:spMk id="12" creationId="{B5BC9E2B-DDF7-7E52-2028-C55D630C5831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03:45:56.006" v="5920" actId="5793"/>
        <pc:sldMkLst>
          <pc:docMk/>
          <pc:sldMk cId="551770475" sldId="2147480502"/>
        </pc:sldMkLst>
        <pc:spChg chg="mod">
          <ac:chgData name="Kanagasundaram, Senthil" userId="ad0514d2-f5b9-46b6-980a-a8b5153a9916" providerId="ADAL" clId="{38506DFD-4B25-4139-A22B-6C8A840DF91F}" dt="2025-06-15T02:42:11.157" v="5702" actId="554"/>
          <ac:spMkLst>
            <pc:docMk/>
            <pc:sldMk cId="551770475" sldId="2147480502"/>
            <ac:spMk id="4" creationId="{0E958BF3-4CC4-FAB7-2B1C-9F3BB70049BD}"/>
          </ac:spMkLst>
        </pc:spChg>
        <pc:spChg chg="mod">
          <ac:chgData name="Kanagasundaram, Senthil" userId="ad0514d2-f5b9-46b6-980a-a8b5153a9916" providerId="ADAL" clId="{38506DFD-4B25-4139-A22B-6C8A840DF91F}" dt="2025-06-15T02:42:11.157" v="5702" actId="554"/>
          <ac:spMkLst>
            <pc:docMk/>
            <pc:sldMk cId="551770475" sldId="2147480502"/>
            <ac:spMk id="5" creationId="{8C73C259-A411-1371-0A3B-1B5B28C8D10A}"/>
          </ac:spMkLst>
        </pc:spChg>
        <pc:spChg chg="mod">
          <ac:chgData name="Kanagasundaram, Senthil" userId="ad0514d2-f5b9-46b6-980a-a8b5153a9916" providerId="ADAL" clId="{38506DFD-4B25-4139-A22B-6C8A840DF91F}" dt="2025-06-15T03:45:56.006" v="5920" actId="5793"/>
          <ac:spMkLst>
            <pc:docMk/>
            <pc:sldMk cId="551770475" sldId="2147480502"/>
            <ac:spMk id="6" creationId="{ABAAD6DA-52FC-06F9-9BC6-75FDAAE76B23}"/>
          </ac:spMkLst>
        </pc:spChg>
        <pc:spChg chg="mod">
          <ac:chgData name="Kanagasundaram, Senthil" userId="ad0514d2-f5b9-46b6-980a-a8b5153a9916" providerId="ADAL" clId="{38506DFD-4B25-4139-A22B-6C8A840DF91F}" dt="2025-06-15T02:42:06.266" v="5701" actId="552"/>
          <ac:spMkLst>
            <pc:docMk/>
            <pc:sldMk cId="551770475" sldId="2147480502"/>
            <ac:spMk id="9" creationId="{F286BFAE-1C52-CA6B-C3FE-8141B95ACD4D}"/>
          </ac:spMkLst>
        </pc:spChg>
        <pc:spChg chg="add del mod">
          <ac:chgData name="Kanagasundaram, Senthil" userId="ad0514d2-f5b9-46b6-980a-a8b5153a9916" providerId="ADAL" clId="{38506DFD-4B25-4139-A22B-6C8A840DF91F}" dt="2025-06-15T02:29:49.337" v="5602" actId="478"/>
          <ac:spMkLst>
            <pc:docMk/>
            <pc:sldMk cId="551770475" sldId="2147480502"/>
            <ac:spMk id="10" creationId="{F3AF99FD-B74F-60A5-7B29-91111E5E0826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03:45:45.666" v="5917" actId="5793"/>
        <pc:sldMkLst>
          <pc:docMk/>
          <pc:sldMk cId="3401438013" sldId="2147480503"/>
        </pc:sldMkLst>
        <pc:spChg chg="mod">
          <ac:chgData name="Kanagasundaram, Senthil" userId="ad0514d2-f5b9-46b6-980a-a8b5153a9916" providerId="ADAL" clId="{38506DFD-4B25-4139-A22B-6C8A840DF91F}" dt="2025-06-15T02:46:53.961" v="5715" actId="552"/>
          <ac:spMkLst>
            <pc:docMk/>
            <pc:sldMk cId="3401438013" sldId="2147480503"/>
            <ac:spMk id="4" creationId="{675BE434-B9AE-E8B9-A70E-0872521CD29C}"/>
          </ac:spMkLst>
        </pc:spChg>
        <pc:spChg chg="mod">
          <ac:chgData name="Kanagasundaram, Senthil" userId="ad0514d2-f5b9-46b6-980a-a8b5153a9916" providerId="ADAL" clId="{38506DFD-4B25-4139-A22B-6C8A840DF91F}" dt="2025-06-15T02:47:30.166" v="5724" actId="14100"/>
          <ac:spMkLst>
            <pc:docMk/>
            <pc:sldMk cId="3401438013" sldId="2147480503"/>
            <ac:spMk id="5" creationId="{532E51A1-725F-C216-532C-8A42B9AB0315}"/>
          </ac:spMkLst>
        </pc:spChg>
        <pc:spChg chg="mod">
          <ac:chgData name="Kanagasundaram, Senthil" userId="ad0514d2-f5b9-46b6-980a-a8b5153a9916" providerId="ADAL" clId="{38506DFD-4B25-4139-A22B-6C8A840DF91F}" dt="2025-06-15T03:45:45.666" v="5917" actId="5793"/>
          <ac:spMkLst>
            <pc:docMk/>
            <pc:sldMk cId="3401438013" sldId="2147480503"/>
            <ac:spMk id="6" creationId="{D17D7BCD-7D8C-45D0-C125-B4AFDDFDFD77}"/>
          </ac:spMkLst>
        </pc:spChg>
        <pc:spChg chg="mod">
          <ac:chgData name="Kanagasundaram, Senthil" userId="ad0514d2-f5b9-46b6-980a-a8b5153a9916" providerId="ADAL" clId="{38506DFD-4B25-4139-A22B-6C8A840DF91F}" dt="2025-06-15T03:13:31.413" v="5757" actId="6549"/>
          <ac:spMkLst>
            <pc:docMk/>
            <pc:sldMk cId="3401438013" sldId="2147480503"/>
            <ac:spMk id="9" creationId="{B236CC4C-1B8B-5438-DEB8-93E76313C4CF}"/>
          </ac:spMkLst>
        </pc:spChg>
        <pc:spChg chg="add del mod">
          <ac:chgData name="Kanagasundaram, Senthil" userId="ad0514d2-f5b9-46b6-980a-a8b5153a9916" providerId="ADAL" clId="{38506DFD-4B25-4139-A22B-6C8A840DF91F}" dt="2025-06-15T02:46:28.569" v="5709" actId="478"/>
          <ac:spMkLst>
            <pc:docMk/>
            <pc:sldMk cId="3401438013" sldId="2147480503"/>
            <ac:spMk id="10" creationId="{5A93BB49-8FB9-FCB6-AFEB-CE661C850D0E}"/>
          </ac:spMkLst>
        </pc:spChg>
        <pc:spChg chg="add">
          <ac:chgData name="Kanagasundaram, Senthil" userId="ad0514d2-f5b9-46b6-980a-a8b5153a9916" providerId="ADAL" clId="{38506DFD-4B25-4139-A22B-6C8A840DF91F}" dt="2025-06-15T02:44:31.474" v="5704"/>
          <ac:spMkLst>
            <pc:docMk/>
            <pc:sldMk cId="3401438013" sldId="2147480503"/>
            <ac:spMk id="11" creationId="{793FBC73-D4A6-181A-D95A-CD780CAD0033}"/>
          </ac:spMkLst>
        </pc:spChg>
        <pc:spChg chg="add mod">
          <ac:chgData name="Kanagasundaram, Senthil" userId="ad0514d2-f5b9-46b6-980a-a8b5153a9916" providerId="ADAL" clId="{38506DFD-4B25-4139-A22B-6C8A840DF91F}" dt="2025-06-15T02:54:51.953" v="5731"/>
          <ac:spMkLst>
            <pc:docMk/>
            <pc:sldMk cId="3401438013" sldId="2147480503"/>
            <ac:spMk id="12" creationId="{FD1F23C6-B166-AB62-A745-E99E29D3CD64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03:44:54.359" v="5907" actId="14100"/>
        <pc:sldMkLst>
          <pc:docMk/>
          <pc:sldMk cId="3624343574" sldId="2147480504"/>
        </pc:sldMkLst>
        <pc:spChg chg="mod">
          <ac:chgData name="Kanagasundaram, Senthil" userId="ad0514d2-f5b9-46b6-980a-a8b5153a9916" providerId="ADAL" clId="{38506DFD-4B25-4139-A22B-6C8A840DF91F}" dt="2025-06-15T03:13:57.618" v="5758"/>
          <ac:spMkLst>
            <pc:docMk/>
            <pc:sldMk cId="3624343574" sldId="2147480504"/>
            <ac:spMk id="4" creationId="{9B686637-9E8E-FCB5-AA39-C5E951BF97CF}"/>
          </ac:spMkLst>
        </pc:spChg>
        <pc:spChg chg="mod">
          <ac:chgData name="Kanagasundaram, Senthil" userId="ad0514d2-f5b9-46b6-980a-a8b5153a9916" providerId="ADAL" clId="{38506DFD-4B25-4139-A22B-6C8A840DF91F}" dt="2025-06-15T03:14:46.314" v="5760"/>
          <ac:spMkLst>
            <pc:docMk/>
            <pc:sldMk cId="3624343574" sldId="2147480504"/>
            <ac:spMk id="5" creationId="{99E93B1F-50DD-B712-0191-676920827F20}"/>
          </ac:spMkLst>
        </pc:spChg>
        <pc:spChg chg="mod">
          <ac:chgData name="Kanagasundaram, Senthil" userId="ad0514d2-f5b9-46b6-980a-a8b5153a9916" providerId="ADAL" clId="{38506DFD-4B25-4139-A22B-6C8A840DF91F}" dt="2025-06-15T03:44:54.359" v="5907" actId="14100"/>
          <ac:spMkLst>
            <pc:docMk/>
            <pc:sldMk cId="3624343574" sldId="2147480504"/>
            <ac:spMk id="6" creationId="{9A98DD83-2868-F539-9A07-D0D07C3A1C86}"/>
          </ac:spMkLst>
        </pc:spChg>
        <pc:spChg chg="mod">
          <ac:chgData name="Kanagasundaram, Senthil" userId="ad0514d2-f5b9-46b6-980a-a8b5153a9916" providerId="ADAL" clId="{38506DFD-4B25-4139-A22B-6C8A840DF91F}" dt="2025-06-15T03:17:16.412" v="5781" actId="1076"/>
          <ac:spMkLst>
            <pc:docMk/>
            <pc:sldMk cId="3624343574" sldId="2147480504"/>
            <ac:spMk id="9" creationId="{B882E468-651F-06F6-89E9-7065981965CB}"/>
          </ac:spMkLst>
        </pc:spChg>
        <pc:spChg chg="add">
          <ac:chgData name="Kanagasundaram, Senthil" userId="ad0514d2-f5b9-46b6-980a-a8b5153a9916" providerId="ADAL" clId="{38506DFD-4B25-4139-A22B-6C8A840DF91F}" dt="2025-06-15T03:14:35.869" v="5759"/>
          <ac:spMkLst>
            <pc:docMk/>
            <pc:sldMk cId="3624343574" sldId="2147480504"/>
            <ac:spMk id="10" creationId="{4989CB37-526C-C44F-6B87-3F7DE5185DDB}"/>
          </ac:spMkLst>
        </pc:spChg>
        <pc:spChg chg="add">
          <ac:chgData name="Kanagasundaram, Senthil" userId="ad0514d2-f5b9-46b6-980a-a8b5153a9916" providerId="ADAL" clId="{38506DFD-4B25-4139-A22B-6C8A840DF91F}" dt="2025-06-15T03:15:45.554" v="5761"/>
          <ac:spMkLst>
            <pc:docMk/>
            <pc:sldMk cId="3624343574" sldId="2147480504"/>
            <ac:spMk id="11" creationId="{63976152-C47D-8C09-2F04-A57575DF1B2A}"/>
          </ac:spMkLst>
        </pc:spChg>
        <pc:spChg chg="add">
          <ac:chgData name="Kanagasundaram, Senthil" userId="ad0514d2-f5b9-46b6-980a-a8b5153a9916" providerId="ADAL" clId="{38506DFD-4B25-4139-A22B-6C8A840DF91F}" dt="2025-06-15T03:44:12.110" v="5902"/>
          <ac:spMkLst>
            <pc:docMk/>
            <pc:sldMk cId="3624343574" sldId="2147480504"/>
            <ac:spMk id="12" creationId="{F465B5D7-D054-C451-6D19-C873EA4178E4}"/>
          </ac:spMkLst>
        </pc:spChg>
      </pc:sldChg>
      <pc:sldChg chg="addSp delSp modSp mod modNotesTx">
        <pc:chgData name="Kanagasundaram, Senthil" userId="ad0514d2-f5b9-46b6-980a-a8b5153a9916" providerId="ADAL" clId="{38506DFD-4B25-4139-A22B-6C8A840DF91F}" dt="2025-06-15T03:45:14.955" v="5910" actId="5793"/>
        <pc:sldMkLst>
          <pc:docMk/>
          <pc:sldMk cId="1334608779" sldId="2147480505"/>
        </pc:sldMkLst>
        <pc:spChg chg="mod">
          <ac:chgData name="Kanagasundaram, Senthil" userId="ad0514d2-f5b9-46b6-980a-a8b5153a9916" providerId="ADAL" clId="{38506DFD-4B25-4139-A22B-6C8A840DF91F}" dt="2025-06-15T03:26:59.028" v="5849" actId="552"/>
          <ac:spMkLst>
            <pc:docMk/>
            <pc:sldMk cId="1334608779" sldId="2147480505"/>
            <ac:spMk id="4" creationId="{68A13524-9D29-A6B5-4D3C-C4D109E31EC6}"/>
          </ac:spMkLst>
        </pc:spChg>
        <pc:spChg chg="mod">
          <ac:chgData name="Kanagasundaram, Senthil" userId="ad0514d2-f5b9-46b6-980a-a8b5153a9916" providerId="ADAL" clId="{38506DFD-4B25-4139-A22B-6C8A840DF91F}" dt="2025-06-15T03:26:42.634" v="5847" actId="1036"/>
          <ac:spMkLst>
            <pc:docMk/>
            <pc:sldMk cId="1334608779" sldId="2147480505"/>
            <ac:spMk id="5" creationId="{3716EB21-9932-DBD3-878E-376EAA9A03EA}"/>
          </ac:spMkLst>
        </pc:spChg>
        <pc:spChg chg="mod">
          <ac:chgData name="Kanagasundaram, Senthil" userId="ad0514d2-f5b9-46b6-980a-a8b5153a9916" providerId="ADAL" clId="{38506DFD-4B25-4139-A22B-6C8A840DF91F}" dt="2025-06-15T03:45:14.955" v="5910" actId="5793"/>
          <ac:spMkLst>
            <pc:docMk/>
            <pc:sldMk cId="1334608779" sldId="2147480505"/>
            <ac:spMk id="6" creationId="{42E7CF98-D12A-B365-CC6A-8C20332ADE52}"/>
          </ac:spMkLst>
        </pc:spChg>
        <pc:spChg chg="mod">
          <ac:chgData name="Kanagasundaram, Senthil" userId="ad0514d2-f5b9-46b6-980a-a8b5153a9916" providerId="ADAL" clId="{38506DFD-4B25-4139-A22B-6C8A840DF91F}" dt="2025-06-15T03:26:59.028" v="5849" actId="552"/>
          <ac:spMkLst>
            <pc:docMk/>
            <pc:sldMk cId="1334608779" sldId="2147480505"/>
            <ac:spMk id="9" creationId="{2A54431C-AD32-66B6-01C7-1C1786DB112B}"/>
          </ac:spMkLst>
        </pc:spChg>
        <pc:spChg chg="add del mod">
          <ac:chgData name="Kanagasundaram, Senthil" userId="ad0514d2-f5b9-46b6-980a-a8b5153a9916" providerId="ADAL" clId="{38506DFD-4B25-4139-A22B-6C8A840DF91F}" dt="2025-06-15T03:19:15.877" v="5783" actId="478"/>
          <ac:spMkLst>
            <pc:docMk/>
            <pc:sldMk cId="1334608779" sldId="2147480505"/>
            <ac:spMk id="10" creationId="{AEA9C5BB-A843-4F9C-950D-6BDBA1EF4C61}"/>
          </ac:spMkLst>
        </pc:spChg>
        <pc:spChg chg="add">
          <ac:chgData name="Kanagasundaram, Senthil" userId="ad0514d2-f5b9-46b6-980a-a8b5153a9916" providerId="ADAL" clId="{38506DFD-4B25-4139-A22B-6C8A840DF91F}" dt="2025-06-15T03:20:05.952" v="5784"/>
          <ac:spMkLst>
            <pc:docMk/>
            <pc:sldMk cId="1334608779" sldId="2147480505"/>
            <ac:spMk id="11" creationId="{E316E667-C2C0-6D26-293E-17F7ACF4E8D3}"/>
          </ac:spMkLst>
        </pc:spChg>
        <pc:spChg chg="add">
          <ac:chgData name="Kanagasundaram, Senthil" userId="ad0514d2-f5b9-46b6-980a-a8b5153a9916" providerId="ADAL" clId="{38506DFD-4B25-4139-A22B-6C8A840DF91F}" dt="2025-06-15T03:25:24.442" v="5823"/>
          <ac:spMkLst>
            <pc:docMk/>
            <pc:sldMk cId="1334608779" sldId="2147480505"/>
            <ac:spMk id="12" creationId="{D1C45504-5593-B1CF-1117-D51C92EF55B8}"/>
          </ac:spMkLst>
        </pc:spChg>
      </pc:sldChg>
      <pc:sldChg chg="addSp modSp mod modNotesTx">
        <pc:chgData name="Kanagasundaram, Senthil" userId="ad0514d2-f5b9-46b6-980a-a8b5153a9916" providerId="ADAL" clId="{38506DFD-4B25-4139-A22B-6C8A840DF91F}" dt="2025-06-15T03:45:25.462" v="5914" actId="20577"/>
        <pc:sldMkLst>
          <pc:docMk/>
          <pc:sldMk cId="2274950264" sldId="2147480506"/>
        </pc:sldMkLst>
        <pc:spChg chg="mod">
          <ac:chgData name="Kanagasundaram, Senthil" userId="ad0514d2-f5b9-46b6-980a-a8b5153a9916" providerId="ADAL" clId="{38506DFD-4B25-4139-A22B-6C8A840DF91F}" dt="2025-06-15T03:31:35.380" v="5884" actId="20577"/>
          <ac:spMkLst>
            <pc:docMk/>
            <pc:sldMk cId="2274950264" sldId="2147480506"/>
            <ac:spMk id="4" creationId="{298391D3-2830-C502-EB45-7BCE134C710D}"/>
          </ac:spMkLst>
        </pc:spChg>
        <pc:spChg chg="mod">
          <ac:chgData name="Kanagasundaram, Senthil" userId="ad0514d2-f5b9-46b6-980a-a8b5153a9916" providerId="ADAL" clId="{38506DFD-4B25-4139-A22B-6C8A840DF91F}" dt="2025-06-15T03:35:37.409" v="5898" actId="108"/>
          <ac:spMkLst>
            <pc:docMk/>
            <pc:sldMk cId="2274950264" sldId="2147480506"/>
            <ac:spMk id="5" creationId="{8B5DE107-9A72-25A5-0238-8CD6CEADCC15}"/>
          </ac:spMkLst>
        </pc:spChg>
        <pc:spChg chg="mod">
          <ac:chgData name="Kanagasundaram, Senthil" userId="ad0514d2-f5b9-46b6-980a-a8b5153a9916" providerId="ADAL" clId="{38506DFD-4B25-4139-A22B-6C8A840DF91F}" dt="2025-06-15T03:45:25.462" v="5914" actId="20577"/>
          <ac:spMkLst>
            <pc:docMk/>
            <pc:sldMk cId="2274950264" sldId="2147480506"/>
            <ac:spMk id="6" creationId="{3BC7BD0C-806D-DF2F-D10A-B42D266BB5CA}"/>
          </ac:spMkLst>
        </pc:spChg>
        <pc:spChg chg="mod">
          <ac:chgData name="Kanagasundaram, Senthil" userId="ad0514d2-f5b9-46b6-980a-a8b5153a9916" providerId="ADAL" clId="{38506DFD-4B25-4139-A22B-6C8A840DF91F}" dt="2025-06-15T03:27:57.358" v="5857" actId="20577"/>
          <ac:spMkLst>
            <pc:docMk/>
            <pc:sldMk cId="2274950264" sldId="2147480506"/>
            <ac:spMk id="7" creationId="{77E2100E-B9DC-B4BF-F991-8B3DDD5E026C}"/>
          </ac:spMkLst>
        </pc:spChg>
        <pc:spChg chg="mod">
          <ac:chgData name="Kanagasundaram, Senthil" userId="ad0514d2-f5b9-46b6-980a-a8b5153a9916" providerId="ADAL" clId="{38506DFD-4B25-4139-A22B-6C8A840DF91F}" dt="2025-06-15T03:35:26.354" v="5897"/>
          <ac:spMkLst>
            <pc:docMk/>
            <pc:sldMk cId="2274950264" sldId="2147480506"/>
            <ac:spMk id="9" creationId="{6F78D43A-0C41-4641-9EC8-76AF2FBFDC6E}"/>
          </ac:spMkLst>
        </pc:spChg>
        <pc:spChg chg="add mod">
          <ac:chgData name="Kanagasundaram, Senthil" userId="ad0514d2-f5b9-46b6-980a-a8b5153a9916" providerId="ADAL" clId="{38506DFD-4B25-4139-A22B-6C8A840DF91F}" dt="2025-06-15T03:27:28.294" v="5850"/>
          <ac:spMkLst>
            <pc:docMk/>
            <pc:sldMk cId="2274950264" sldId="2147480506"/>
            <ac:spMk id="10" creationId="{91E70457-41F1-3B87-D91C-25A347593D2C}"/>
          </ac:spMkLst>
        </pc:spChg>
        <pc:spChg chg="add">
          <ac:chgData name="Kanagasundaram, Senthil" userId="ad0514d2-f5b9-46b6-980a-a8b5153a9916" providerId="ADAL" clId="{38506DFD-4B25-4139-A22B-6C8A840DF91F}" dt="2025-06-15T03:33:53.822" v="5887"/>
          <ac:spMkLst>
            <pc:docMk/>
            <pc:sldMk cId="2274950264" sldId="2147480506"/>
            <ac:spMk id="11" creationId="{50226DBE-61E4-03C4-CE1E-F036BD8BA5DF}"/>
          </ac:spMkLst>
        </pc:spChg>
        <pc:spChg chg="add">
          <ac:chgData name="Kanagasundaram, Senthil" userId="ad0514d2-f5b9-46b6-980a-a8b5153a9916" providerId="ADAL" clId="{38506DFD-4B25-4139-A22B-6C8A840DF91F}" dt="2025-06-15T03:35:09.391" v="5895"/>
          <ac:spMkLst>
            <pc:docMk/>
            <pc:sldMk cId="2274950264" sldId="2147480506"/>
            <ac:spMk id="12" creationId="{DE416B0C-F539-5410-8ADD-8C2F3EAA2FDD}"/>
          </ac:spMkLst>
        </pc:spChg>
      </pc:sldChg>
      <pc:sldChg chg="add del">
        <pc:chgData name="Kanagasundaram, Senthil" userId="ad0514d2-f5b9-46b6-980a-a8b5153a9916" providerId="ADAL" clId="{38506DFD-4B25-4139-A22B-6C8A840DF91F}" dt="2025-06-09T10:06:06.393" v="3107" actId="47"/>
        <pc:sldMkLst>
          <pc:docMk/>
          <pc:sldMk cId="2583545206" sldId="2147480506"/>
        </pc:sldMkLst>
      </pc:sldChg>
      <pc:sldChg chg="add del">
        <pc:chgData name="Kanagasundaram, Senthil" userId="ad0514d2-f5b9-46b6-980a-a8b5153a9916" providerId="ADAL" clId="{38506DFD-4B25-4139-A22B-6C8A840DF91F}" dt="2025-06-09T10:05:52.111" v="3106"/>
        <pc:sldMkLst>
          <pc:docMk/>
          <pc:sldMk cId="753590983" sldId="2147480507"/>
        </pc:sldMkLst>
      </pc:sldChg>
      <pc:sldChg chg="addSp delSp modSp mod modNotesTx">
        <pc:chgData name="Kanagasundaram, Senthil" userId="ad0514d2-f5b9-46b6-980a-a8b5153a9916" providerId="ADAL" clId="{38506DFD-4B25-4139-A22B-6C8A840DF91F}" dt="2025-06-15T04:44:55.469" v="6109"/>
        <pc:sldMkLst>
          <pc:docMk/>
          <pc:sldMk cId="3325114936" sldId="2147480507"/>
        </pc:sldMkLst>
        <pc:spChg chg="mod">
          <ac:chgData name="Kanagasundaram, Senthil" userId="ad0514d2-f5b9-46b6-980a-a8b5153a9916" providerId="ADAL" clId="{38506DFD-4B25-4139-A22B-6C8A840DF91F}" dt="2025-06-15T04:32:00.354" v="6068" actId="552"/>
          <ac:spMkLst>
            <pc:docMk/>
            <pc:sldMk cId="3325114936" sldId="2147480507"/>
            <ac:spMk id="4" creationId="{C578ACA3-AADC-8C02-A715-D5F3074BF440}"/>
          </ac:spMkLst>
        </pc:spChg>
        <pc:spChg chg="mod">
          <ac:chgData name="Kanagasundaram, Senthil" userId="ad0514d2-f5b9-46b6-980a-a8b5153a9916" providerId="ADAL" clId="{38506DFD-4B25-4139-A22B-6C8A840DF91F}" dt="2025-06-15T04:32:06.492" v="6069" actId="552"/>
          <ac:spMkLst>
            <pc:docMk/>
            <pc:sldMk cId="3325114936" sldId="2147480507"/>
            <ac:spMk id="5" creationId="{0F52009C-203E-F9D1-5093-44B75552C131}"/>
          </ac:spMkLst>
        </pc:spChg>
        <pc:spChg chg="mod">
          <ac:chgData name="Kanagasundaram, Senthil" userId="ad0514d2-f5b9-46b6-980a-a8b5153a9916" providerId="ADAL" clId="{38506DFD-4B25-4139-A22B-6C8A840DF91F}" dt="2025-06-15T04:32:06.492" v="6069" actId="552"/>
          <ac:spMkLst>
            <pc:docMk/>
            <pc:sldMk cId="3325114936" sldId="2147480507"/>
            <ac:spMk id="6" creationId="{5BB1876E-8859-3EDE-E884-7999A7F95D48}"/>
          </ac:spMkLst>
        </pc:spChg>
        <pc:spChg chg="add">
          <ac:chgData name="Kanagasundaram, Senthil" userId="ad0514d2-f5b9-46b6-980a-a8b5153a9916" providerId="ADAL" clId="{38506DFD-4B25-4139-A22B-6C8A840DF91F}" dt="2025-06-15T04:18:45.443" v="6008"/>
          <ac:spMkLst>
            <pc:docMk/>
            <pc:sldMk cId="3325114936" sldId="2147480507"/>
            <ac:spMk id="7" creationId="{B2403F52-BDE3-1F47-1743-FB8A87F66120}"/>
          </ac:spMkLst>
        </pc:spChg>
        <pc:spChg chg="mod">
          <ac:chgData name="Kanagasundaram, Senthil" userId="ad0514d2-f5b9-46b6-980a-a8b5153a9916" providerId="ADAL" clId="{38506DFD-4B25-4139-A22B-6C8A840DF91F}" dt="2025-06-15T04:32:00.354" v="6068" actId="552"/>
          <ac:spMkLst>
            <pc:docMk/>
            <pc:sldMk cId="3325114936" sldId="2147480507"/>
            <ac:spMk id="9" creationId="{1AC189B4-F73A-5839-D077-63290EE73F94}"/>
          </ac:spMkLst>
        </pc:spChg>
        <pc:spChg chg="add">
          <ac:chgData name="Kanagasundaram, Senthil" userId="ad0514d2-f5b9-46b6-980a-a8b5153a9916" providerId="ADAL" clId="{38506DFD-4B25-4139-A22B-6C8A840DF91F}" dt="2025-06-15T04:29:56.539" v="6054"/>
          <ac:spMkLst>
            <pc:docMk/>
            <pc:sldMk cId="3325114936" sldId="2147480507"/>
            <ac:spMk id="10" creationId="{6CB54D2D-7B41-6A50-747E-AF6115F7BA4B}"/>
          </ac:spMkLst>
        </pc:spChg>
        <pc:spChg chg="add mod">
          <ac:chgData name="Kanagasundaram, Senthil" userId="ad0514d2-f5b9-46b6-980a-a8b5153a9916" providerId="ADAL" clId="{38506DFD-4B25-4139-A22B-6C8A840DF91F}" dt="2025-06-15T04:44:55.469" v="6109"/>
          <ac:spMkLst>
            <pc:docMk/>
            <pc:sldMk cId="3325114936" sldId="2147480507"/>
            <ac:spMk id="12" creationId="{107483CB-B3E3-9A76-4042-BB989A276EB2}"/>
          </ac:spMkLst>
        </pc:spChg>
        <pc:spChg chg="del mod">
          <ac:chgData name="Kanagasundaram, Senthil" userId="ad0514d2-f5b9-46b6-980a-a8b5153a9916" providerId="ADAL" clId="{38506DFD-4B25-4139-A22B-6C8A840DF91F}" dt="2025-06-15T04:31:16.199" v="6060" actId="478"/>
          <ac:spMkLst>
            <pc:docMk/>
            <pc:sldMk cId="3325114936" sldId="2147480507"/>
            <ac:spMk id="16" creationId="{D2CEB6CF-BD2C-05EE-B67E-A605062B6083}"/>
          </ac:spMkLst>
        </pc:spChg>
      </pc:sldChg>
      <pc:sldChg chg="addSp modSp mod modNotesTx">
        <pc:chgData name="Kanagasundaram, Senthil" userId="ad0514d2-f5b9-46b6-980a-a8b5153a9916" providerId="ADAL" clId="{38506DFD-4B25-4139-A22B-6C8A840DF91F}" dt="2025-06-15T04:02:52.827" v="5965" actId="113"/>
        <pc:sldMkLst>
          <pc:docMk/>
          <pc:sldMk cId="3798284056" sldId="2147480508"/>
        </pc:sldMkLst>
        <pc:spChg chg="mod">
          <ac:chgData name="Kanagasundaram, Senthil" userId="ad0514d2-f5b9-46b6-980a-a8b5153a9916" providerId="ADAL" clId="{38506DFD-4B25-4139-A22B-6C8A840DF91F}" dt="2025-06-14T13:34:03.368" v="4844" actId="6549"/>
          <ac:spMkLst>
            <pc:docMk/>
            <pc:sldMk cId="3798284056" sldId="2147480508"/>
            <ac:spMk id="3" creationId="{8A56E455-E02B-96F5-C2AA-4E4E780CBDBD}"/>
          </ac:spMkLst>
        </pc:spChg>
        <pc:spChg chg="mod">
          <ac:chgData name="Kanagasundaram, Senthil" userId="ad0514d2-f5b9-46b6-980a-a8b5153a9916" providerId="ADAL" clId="{38506DFD-4B25-4139-A22B-6C8A840DF91F}" dt="2025-06-14T14:24:56.001" v="4887" actId="552"/>
          <ac:spMkLst>
            <pc:docMk/>
            <pc:sldMk cId="3798284056" sldId="2147480508"/>
            <ac:spMk id="4" creationId="{D00745B2-75A1-0AC8-4C39-5618D6FF5C1B}"/>
          </ac:spMkLst>
        </pc:spChg>
        <pc:spChg chg="mod">
          <ac:chgData name="Kanagasundaram, Senthil" userId="ad0514d2-f5b9-46b6-980a-a8b5153a9916" providerId="ADAL" clId="{38506DFD-4B25-4139-A22B-6C8A840DF91F}" dt="2025-06-14T14:24:49.568" v="4886" actId="1076"/>
          <ac:spMkLst>
            <pc:docMk/>
            <pc:sldMk cId="3798284056" sldId="2147480508"/>
            <ac:spMk id="5" creationId="{14A88BCF-9352-A540-345D-D4C26E14DEBF}"/>
          </ac:spMkLst>
        </pc:spChg>
        <pc:spChg chg="mod">
          <ac:chgData name="Kanagasundaram, Senthil" userId="ad0514d2-f5b9-46b6-980a-a8b5153a9916" providerId="ADAL" clId="{38506DFD-4B25-4139-A22B-6C8A840DF91F}" dt="2025-06-15T04:02:18.712" v="5962"/>
          <ac:spMkLst>
            <pc:docMk/>
            <pc:sldMk cId="3798284056" sldId="2147480508"/>
            <ac:spMk id="6" creationId="{C7AB02ED-6B99-D130-88DA-D3AE5E8812C4}"/>
          </ac:spMkLst>
        </pc:spChg>
        <pc:spChg chg="mod">
          <ac:chgData name="Kanagasundaram, Senthil" userId="ad0514d2-f5b9-46b6-980a-a8b5153a9916" providerId="ADAL" clId="{38506DFD-4B25-4139-A22B-6C8A840DF91F}" dt="2025-06-14T14:24:56.001" v="4887" actId="552"/>
          <ac:spMkLst>
            <pc:docMk/>
            <pc:sldMk cId="3798284056" sldId="2147480508"/>
            <ac:spMk id="7" creationId="{6A0580D2-C128-7299-A175-11A5B3D15875}"/>
          </ac:spMkLst>
        </pc:spChg>
        <pc:spChg chg="mod">
          <ac:chgData name="Kanagasundaram, Senthil" userId="ad0514d2-f5b9-46b6-980a-a8b5153a9916" providerId="ADAL" clId="{38506DFD-4B25-4139-A22B-6C8A840DF91F}" dt="2025-06-14T13:31:37.557" v="4820" actId="20577"/>
          <ac:spMkLst>
            <pc:docMk/>
            <pc:sldMk cId="3798284056" sldId="2147480508"/>
            <ac:spMk id="8" creationId="{BA657787-4731-0A0C-9EFF-BF32F828B6E8}"/>
          </ac:spMkLst>
        </pc:spChg>
        <pc:spChg chg="add">
          <ac:chgData name="Kanagasundaram, Senthil" userId="ad0514d2-f5b9-46b6-980a-a8b5153a9916" providerId="ADAL" clId="{38506DFD-4B25-4139-A22B-6C8A840DF91F}" dt="2025-06-14T14:31:05.443" v="4888"/>
          <ac:spMkLst>
            <pc:docMk/>
            <pc:sldMk cId="3798284056" sldId="2147480508"/>
            <ac:spMk id="10" creationId="{32826215-23F5-7498-803F-80B007644FD1}"/>
          </ac:spMkLst>
        </pc:spChg>
        <pc:spChg chg="add">
          <ac:chgData name="Kanagasundaram, Senthil" userId="ad0514d2-f5b9-46b6-980a-a8b5153a9916" providerId="ADAL" clId="{38506DFD-4B25-4139-A22B-6C8A840DF91F}" dt="2025-06-14T14:31:45.162" v="4890"/>
          <ac:spMkLst>
            <pc:docMk/>
            <pc:sldMk cId="3798284056" sldId="2147480508"/>
            <ac:spMk id="11" creationId="{8E60F5EA-E1FE-86F8-9792-36B6CE1F2105}"/>
          </ac:spMkLst>
        </pc:spChg>
        <pc:spChg chg="mod">
          <ac:chgData name="Kanagasundaram, Senthil" userId="ad0514d2-f5b9-46b6-980a-a8b5153a9916" providerId="ADAL" clId="{38506DFD-4B25-4139-A22B-6C8A840DF91F}" dt="2025-06-14T13:31:20.459" v="4816" actId="20577"/>
          <ac:spMkLst>
            <pc:docMk/>
            <pc:sldMk cId="3798284056" sldId="2147480508"/>
            <ac:spMk id="12" creationId="{5EE46307-9207-4499-7CF1-3C8B4984ED8E}"/>
          </ac:spMkLst>
        </pc:spChg>
        <pc:spChg chg="mod">
          <ac:chgData name="Kanagasundaram, Senthil" userId="ad0514d2-f5b9-46b6-980a-a8b5153a9916" providerId="ADAL" clId="{38506DFD-4B25-4139-A22B-6C8A840DF91F}" dt="2025-06-15T04:02:52.827" v="5965" actId="113"/>
          <ac:spMkLst>
            <pc:docMk/>
            <pc:sldMk cId="3798284056" sldId="2147480508"/>
            <ac:spMk id="16" creationId="{AF911EC6-1FC9-2D92-B895-87E87C442546}"/>
          </ac:spMkLst>
        </pc:spChg>
      </pc:sldChg>
    </pc:docChg>
  </pc:docChgLst>
  <pc:docChgLst>
    <pc:chgData name="K P, Pradeep" userId="8e0297e5-1d60-4ee2-bfea-6bc5d098bef0" providerId="ADAL" clId="{AE003B93-FD8B-498B-805E-AF57206D0107}"/>
    <pc:docChg chg="undo custSel addSld delSld modSld modSection">
      <pc:chgData name="K P, Pradeep" userId="8e0297e5-1d60-4ee2-bfea-6bc5d098bef0" providerId="ADAL" clId="{AE003B93-FD8B-498B-805E-AF57206D0107}" dt="2025-06-14T14:04:12.758" v="975" actId="20577"/>
      <pc:docMkLst>
        <pc:docMk/>
      </pc:docMkLst>
      <pc:sldChg chg="addSp delSp modSp mod modNotesTx">
        <pc:chgData name="K P, Pradeep" userId="8e0297e5-1d60-4ee2-bfea-6bc5d098bef0" providerId="ADAL" clId="{AE003B93-FD8B-498B-805E-AF57206D0107}" dt="2025-06-14T14:04:12.758" v="975" actId="20577"/>
        <pc:sldMkLst>
          <pc:docMk/>
          <pc:sldMk cId="2527978184" sldId="2147480488"/>
        </pc:sldMkLst>
        <pc:spChg chg="mod">
          <ac:chgData name="K P, Pradeep" userId="8e0297e5-1d60-4ee2-bfea-6bc5d098bef0" providerId="ADAL" clId="{AE003B93-FD8B-498B-805E-AF57206D0107}" dt="2025-06-14T14:00:38.834" v="946" actId="1076"/>
          <ac:spMkLst>
            <pc:docMk/>
            <pc:sldMk cId="2527978184" sldId="2147480488"/>
            <ac:spMk id="2" creationId="{BC88F86F-3F7F-2686-D552-4A292409C438}"/>
          </ac:spMkLst>
        </pc:spChg>
        <pc:spChg chg="del mod">
          <ac:chgData name="K P, Pradeep" userId="8e0297e5-1d60-4ee2-bfea-6bc5d098bef0" providerId="ADAL" clId="{AE003B93-FD8B-498B-805E-AF57206D0107}" dt="2025-06-14T14:00:57.257" v="949" actId="478"/>
          <ac:spMkLst>
            <pc:docMk/>
            <pc:sldMk cId="2527978184" sldId="2147480488"/>
            <ac:spMk id="3" creationId="{C34EE1C7-7022-E52F-3479-93FEA4F20104}"/>
          </ac:spMkLst>
        </pc:spChg>
        <pc:spChg chg="mod">
          <ac:chgData name="K P, Pradeep" userId="8e0297e5-1d60-4ee2-bfea-6bc5d098bef0" providerId="ADAL" clId="{AE003B93-FD8B-498B-805E-AF57206D0107}" dt="2025-06-14T13:59:23.572" v="931" actId="1076"/>
          <ac:spMkLst>
            <pc:docMk/>
            <pc:sldMk cId="2527978184" sldId="2147480488"/>
            <ac:spMk id="4" creationId="{C578ACA3-AADC-8C02-A715-D5F3074BF440}"/>
          </ac:spMkLst>
        </pc:spChg>
        <pc:spChg chg="mod">
          <ac:chgData name="K P, Pradeep" userId="8e0297e5-1d60-4ee2-bfea-6bc5d098bef0" providerId="ADAL" clId="{AE003B93-FD8B-498B-805E-AF57206D0107}" dt="2025-06-14T13:59:19.665" v="930" actId="1076"/>
          <ac:spMkLst>
            <pc:docMk/>
            <pc:sldMk cId="2527978184" sldId="2147480488"/>
            <ac:spMk id="5" creationId="{0F52009C-203E-F9D1-5093-44B75552C131}"/>
          </ac:spMkLst>
        </pc:spChg>
        <pc:spChg chg="mod">
          <ac:chgData name="K P, Pradeep" userId="8e0297e5-1d60-4ee2-bfea-6bc5d098bef0" providerId="ADAL" clId="{AE003B93-FD8B-498B-805E-AF57206D0107}" dt="2025-06-14T14:02:39.817" v="972" actId="20577"/>
          <ac:spMkLst>
            <pc:docMk/>
            <pc:sldMk cId="2527978184" sldId="2147480488"/>
            <ac:spMk id="6" creationId="{5BB1876E-8859-3EDE-E884-7999A7F95D48}"/>
          </ac:spMkLst>
        </pc:spChg>
        <pc:spChg chg="add mod">
          <ac:chgData name="K P, Pradeep" userId="8e0297e5-1d60-4ee2-bfea-6bc5d098bef0" providerId="ADAL" clId="{AE003B93-FD8B-498B-805E-AF57206D0107}" dt="2025-06-06T19:53:27.241" v="17" actId="207"/>
          <ac:spMkLst>
            <pc:docMk/>
            <pc:sldMk cId="2527978184" sldId="2147480488"/>
            <ac:spMk id="7" creationId="{F2E9912D-7EA7-C7FB-D1E6-A83698E351DA}"/>
          </ac:spMkLst>
        </pc:spChg>
        <pc:spChg chg="mod">
          <ac:chgData name="K P, Pradeep" userId="8e0297e5-1d60-4ee2-bfea-6bc5d098bef0" providerId="ADAL" clId="{AE003B93-FD8B-498B-805E-AF57206D0107}" dt="2025-06-14T14:01:31.994" v="952" actId="1076"/>
          <ac:spMkLst>
            <pc:docMk/>
            <pc:sldMk cId="2527978184" sldId="2147480488"/>
            <ac:spMk id="8" creationId="{D028919E-6403-0550-2579-156D07CFA80D}"/>
          </ac:spMkLst>
        </pc:spChg>
        <pc:spChg chg="mod">
          <ac:chgData name="K P, Pradeep" userId="8e0297e5-1d60-4ee2-bfea-6bc5d098bef0" providerId="ADAL" clId="{AE003B93-FD8B-498B-805E-AF57206D0107}" dt="2025-06-14T13:45:52.312" v="833" actId="1076"/>
          <ac:spMkLst>
            <pc:docMk/>
            <pc:sldMk cId="2527978184" sldId="2147480488"/>
            <ac:spMk id="9" creationId="{1AC189B4-F73A-5839-D077-63290EE73F94}"/>
          </ac:spMkLst>
        </pc:spChg>
        <pc:spChg chg="add">
          <ac:chgData name="K P, Pradeep" userId="8e0297e5-1d60-4ee2-bfea-6bc5d098bef0" providerId="ADAL" clId="{AE003B93-FD8B-498B-805E-AF57206D0107}" dt="2025-06-14T13:07:53.503" v="752"/>
          <ac:spMkLst>
            <pc:docMk/>
            <pc:sldMk cId="2527978184" sldId="2147480488"/>
            <ac:spMk id="11" creationId="{439D17D5-5FFD-8467-20AE-6395E7D9D134}"/>
          </ac:spMkLst>
        </pc:spChg>
        <pc:spChg chg="add">
          <ac:chgData name="K P, Pradeep" userId="8e0297e5-1d60-4ee2-bfea-6bc5d098bef0" providerId="ADAL" clId="{AE003B93-FD8B-498B-805E-AF57206D0107}" dt="2025-06-14T13:44:36.888" v="819"/>
          <ac:spMkLst>
            <pc:docMk/>
            <pc:sldMk cId="2527978184" sldId="2147480488"/>
            <ac:spMk id="12" creationId="{0E54AF9D-FDAE-FE83-B228-BC504E5EA74C}"/>
          </ac:spMkLst>
        </pc:spChg>
        <pc:spChg chg="add">
          <ac:chgData name="K P, Pradeep" userId="8e0297e5-1d60-4ee2-bfea-6bc5d098bef0" providerId="ADAL" clId="{AE003B93-FD8B-498B-805E-AF57206D0107}" dt="2025-06-14T13:49:52.840" v="869"/>
          <ac:spMkLst>
            <pc:docMk/>
            <pc:sldMk cId="2527978184" sldId="2147480488"/>
            <ac:spMk id="13" creationId="{553BE9A0-CF52-0EC1-B574-5F690B8D891C}"/>
          </ac:spMkLst>
        </pc:spChg>
        <pc:spChg chg="add">
          <ac:chgData name="K P, Pradeep" userId="8e0297e5-1d60-4ee2-bfea-6bc5d098bef0" providerId="ADAL" clId="{AE003B93-FD8B-498B-805E-AF57206D0107}" dt="2025-06-14T13:50:19.502" v="877"/>
          <ac:spMkLst>
            <pc:docMk/>
            <pc:sldMk cId="2527978184" sldId="2147480488"/>
            <ac:spMk id="14" creationId="{B967B0A8-79D4-C0A7-5245-7D8BD722768C}"/>
          </ac:spMkLst>
        </pc:spChg>
        <pc:spChg chg="add">
          <ac:chgData name="K P, Pradeep" userId="8e0297e5-1d60-4ee2-bfea-6bc5d098bef0" providerId="ADAL" clId="{AE003B93-FD8B-498B-805E-AF57206D0107}" dt="2025-06-14T13:51:14.491" v="895"/>
          <ac:spMkLst>
            <pc:docMk/>
            <pc:sldMk cId="2527978184" sldId="2147480488"/>
            <ac:spMk id="15" creationId="{F88A83C5-CBC2-6BE2-2E15-B4F05755137F}"/>
          </ac:spMkLst>
        </pc:spChg>
        <pc:spChg chg="add">
          <ac:chgData name="K P, Pradeep" userId="8e0297e5-1d60-4ee2-bfea-6bc5d098bef0" providerId="ADAL" clId="{AE003B93-FD8B-498B-805E-AF57206D0107}" dt="2025-06-14T13:58:10.787" v="922"/>
          <ac:spMkLst>
            <pc:docMk/>
            <pc:sldMk cId="2527978184" sldId="2147480488"/>
            <ac:spMk id="16" creationId="{A1371C7A-DE66-DCC7-4E97-720C450E6C1D}"/>
          </ac:spMkLst>
        </pc:spChg>
        <pc:spChg chg="add mod">
          <ac:chgData name="K P, Pradeep" userId="8e0297e5-1d60-4ee2-bfea-6bc5d098bef0" providerId="ADAL" clId="{AE003B93-FD8B-498B-805E-AF57206D0107}" dt="2025-06-14T14:04:12.758" v="975" actId="20577"/>
          <ac:spMkLst>
            <pc:docMk/>
            <pc:sldMk cId="2527978184" sldId="2147480488"/>
            <ac:spMk id="17" creationId="{B49704D9-693C-EA74-8728-6B4D95EFABBA}"/>
          </ac:spMkLst>
        </pc:spChg>
      </pc:sldChg>
      <pc:sldChg chg="add del">
        <pc:chgData name="K P, Pradeep" userId="8e0297e5-1d60-4ee2-bfea-6bc5d098bef0" providerId="ADAL" clId="{AE003B93-FD8B-498B-805E-AF57206D0107}" dt="2025-06-06T19:52:09.578" v="3"/>
        <pc:sldMkLst>
          <pc:docMk/>
          <pc:sldMk cId="966035480" sldId="2147480489"/>
        </pc:sldMkLst>
      </pc:sldChg>
      <pc:sldChg chg="add del">
        <pc:chgData name="K P, Pradeep" userId="8e0297e5-1d60-4ee2-bfea-6bc5d098bef0" providerId="ADAL" clId="{AE003B93-FD8B-498B-805E-AF57206D0107}" dt="2025-06-06T19:51:57.450" v="1"/>
        <pc:sldMkLst>
          <pc:docMk/>
          <pc:sldMk cId="3021951474" sldId="2147480489"/>
        </pc:sldMkLst>
      </pc:sldChg>
      <pc:sldChg chg="add del">
        <pc:chgData name="K P, Pradeep" userId="8e0297e5-1d60-4ee2-bfea-6bc5d098bef0" providerId="ADAL" clId="{AE003B93-FD8B-498B-805E-AF57206D0107}" dt="2025-06-06T19:52:13.653" v="5"/>
        <pc:sldMkLst>
          <pc:docMk/>
          <pc:sldMk cId="4100480811" sldId="2147480489"/>
        </pc:sldMkLst>
      </pc:sldChg>
      <pc:sldChg chg="modSp add mod modNotesTx">
        <pc:chgData name="K P, Pradeep" userId="8e0297e5-1d60-4ee2-bfea-6bc5d098bef0" providerId="ADAL" clId="{AE003B93-FD8B-498B-805E-AF57206D0107}" dt="2025-06-06T20:22:40.742" v="334" actId="1076"/>
        <pc:sldMkLst>
          <pc:docMk/>
          <pc:sldMk cId="453786293" sldId="2147480490"/>
        </pc:sldMkLst>
        <pc:spChg chg="mod">
          <ac:chgData name="K P, Pradeep" userId="8e0297e5-1d60-4ee2-bfea-6bc5d098bef0" providerId="ADAL" clId="{AE003B93-FD8B-498B-805E-AF57206D0107}" dt="2025-06-06T20:08:33.806" v="140"/>
          <ac:spMkLst>
            <pc:docMk/>
            <pc:sldMk cId="453786293" sldId="2147480490"/>
            <ac:spMk id="3" creationId="{C34EE1C7-7022-E52F-3479-93FEA4F20104}"/>
          </ac:spMkLst>
        </pc:spChg>
        <pc:spChg chg="mod">
          <ac:chgData name="K P, Pradeep" userId="8e0297e5-1d60-4ee2-bfea-6bc5d098bef0" providerId="ADAL" clId="{AE003B93-FD8B-498B-805E-AF57206D0107}" dt="2025-06-06T20:11:24.274" v="183" actId="20577"/>
          <ac:spMkLst>
            <pc:docMk/>
            <pc:sldMk cId="453786293" sldId="2147480490"/>
            <ac:spMk id="4" creationId="{C578ACA3-AADC-8C02-A715-D5F3074BF440}"/>
          </ac:spMkLst>
        </pc:spChg>
        <pc:spChg chg="mod">
          <ac:chgData name="K P, Pradeep" userId="8e0297e5-1d60-4ee2-bfea-6bc5d098bef0" providerId="ADAL" clId="{AE003B93-FD8B-498B-805E-AF57206D0107}" dt="2025-06-06T20:10:29.123" v="170" actId="6549"/>
          <ac:spMkLst>
            <pc:docMk/>
            <pc:sldMk cId="453786293" sldId="2147480490"/>
            <ac:spMk id="5" creationId="{0F52009C-203E-F9D1-5093-44B75552C131}"/>
          </ac:spMkLst>
        </pc:spChg>
        <pc:spChg chg="mod">
          <ac:chgData name="K P, Pradeep" userId="8e0297e5-1d60-4ee2-bfea-6bc5d098bef0" providerId="ADAL" clId="{AE003B93-FD8B-498B-805E-AF57206D0107}" dt="2025-06-06T20:22:40.742" v="334" actId="1076"/>
          <ac:spMkLst>
            <pc:docMk/>
            <pc:sldMk cId="453786293" sldId="2147480490"/>
            <ac:spMk id="6" creationId="{5BB1876E-8859-3EDE-E884-7999A7F95D48}"/>
          </ac:spMkLst>
        </pc:spChg>
        <pc:spChg chg="mod">
          <ac:chgData name="K P, Pradeep" userId="8e0297e5-1d60-4ee2-bfea-6bc5d098bef0" providerId="ADAL" clId="{AE003B93-FD8B-498B-805E-AF57206D0107}" dt="2025-06-06T20:08:45.872" v="142"/>
          <ac:spMkLst>
            <pc:docMk/>
            <pc:sldMk cId="453786293" sldId="2147480490"/>
            <ac:spMk id="8" creationId="{D028919E-6403-0550-2579-156D07CFA80D}"/>
          </ac:spMkLst>
        </pc:spChg>
        <pc:spChg chg="mod">
          <ac:chgData name="K P, Pradeep" userId="8e0297e5-1d60-4ee2-bfea-6bc5d098bef0" providerId="ADAL" clId="{AE003B93-FD8B-498B-805E-AF57206D0107}" dt="2025-06-06T20:12:29.778" v="192" actId="20577"/>
          <ac:spMkLst>
            <pc:docMk/>
            <pc:sldMk cId="453786293" sldId="2147480490"/>
            <ac:spMk id="9" creationId="{1AC189B4-F73A-5839-D077-63290EE73F94}"/>
          </ac:spMkLst>
        </pc:spChg>
      </pc:sldChg>
      <pc:sldChg chg="addSp delSp modSp add mod modNotesTx">
        <pc:chgData name="K P, Pradeep" userId="8e0297e5-1d60-4ee2-bfea-6bc5d098bef0" providerId="ADAL" clId="{AE003B93-FD8B-498B-805E-AF57206D0107}" dt="2025-06-14T12:49:31.627" v="737" actId="20577"/>
        <pc:sldMkLst>
          <pc:docMk/>
          <pc:sldMk cId="1188565810" sldId="2147480491"/>
        </pc:sldMkLst>
        <pc:spChg chg="mod">
          <ac:chgData name="K P, Pradeep" userId="8e0297e5-1d60-4ee2-bfea-6bc5d098bef0" providerId="ADAL" clId="{AE003B93-FD8B-498B-805E-AF57206D0107}" dt="2025-06-14T12:49:31.627" v="737" actId="20577"/>
          <ac:spMkLst>
            <pc:docMk/>
            <pc:sldMk cId="1188565810" sldId="2147480491"/>
            <ac:spMk id="3" creationId="{C34EE1C7-7022-E52F-3479-93FEA4F20104}"/>
          </ac:spMkLst>
        </pc:spChg>
        <pc:spChg chg="mod">
          <ac:chgData name="K P, Pradeep" userId="8e0297e5-1d60-4ee2-bfea-6bc5d098bef0" providerId="ADAL" clId="{AE003B93-FD8B-498B-805E-AF57206D0107}" dt="2025-06-06T20:20:02.231" v="292" actId="6549"/>
          <ac:spMkLst>
            <pc:docMk/>
            <pc:sldMk cId="1188565810" sldId="2147480491"/>
            <ac:spMk id="4" creationId="{C578ACA3-AADC-8C02-A715-D5F3074BF440}"/>
          </ac:spMkLst>
        </pc:spChg>
        <pc:spChg chg="mod">
          <ac:chgData name="K P, Pradeep" userId="8e0297e5-1d60-4ee2-bfea-6bc5d098bef0" providerId="ADAL" clId="{AE003B93-FD8B-498B-805E-AF57206D0107}" dt="2025-06-14T12:31:57.486" v="536"/>
          <ac:spMkLst>
            <pc:docMk/>
            <pc:sldMk cId="1188565810" sldId="2147480491"/>
            <ac:spMk id="5" creationId="{0F52009C-203E-F9D1-5093-44B75552C131}"/>
          </ac:spMkLst>
        </pc:spChg>
        <pc:spChg chg="mod">
          <ac:chgData name="K P, Pradeep" userId="8e0297e5-1d60-4ee2-bfea-6bc5d098bef0" providerId="ADAL" clId="{AE003B93-FD8B-498B-805E-AF57206D0107}" dt="2025-06-14T12:37:42.060" v="631" actId="20577"/>
          <ac:spMkLst>
            <pc:docMk/>
            <pc:sldMk cId="1188565810" sldId="2147480491"/>
            <ac:spMk id="6" creationId="{5BB1876E-8859-3EDE-E884-7999A7F95D48}"/>
          </ac:spMkLst>
        </pc:spChg>
        <pc:spChg chg="mod">
          <ac:chgData name="K P, Pradeep" userId="8e0297e5-1d60-4ee2-bfea-6bc5d098bef0" providerId="ADAL" clId="{AE003B93-FD8B-498B-805E-AF57206D0107}" dt="2025-06-14T12:26:43.209" v="450" actId="20577"/>
          <ac:spMkLst>
            <pc:docMk/>
            <pc:sldMk cId="1188565810" sldId="2147480491"/>
            <ac:spMk id="8" creationId="{D028919E-6403-0550-2579-156D07CFA80D}"/>
          </ac:spMkLst>
        </pc:spChg>
        <pc:spChg chg="mod">
          <ac:chgData name="K P, Pradeep" userId="8e0297e5-1d60-4ee2-bfea-6bc5d098bef0" providerId="ADAL" clId="{AE003B93-FD8B-498B-805E-AF57206D0107}" dt="2025-06-14T12:33:51.409" v="591" actId="20577"/>
          <ac:spMkLst>
            <pc:docMk/>
            <pc:sldMk cId="1188565810" sldId="2147480491"/>
            <ac:spMk id="9" creationId="{1AC189B4-F73A-5839-D077-63290EE73F94}"/>
          </ac:spMkLst>
        </pc:spChg>
        <pc:spChg chg="add del mod">
          <ac:chgData name="K P, Pradeep" userId="8e0297e5-1d60-4ee2-bfea-6bc5d098bef0" providerId="ADAL" clId="{AE003B93-FD8B-498B-805E-AF57206D0107}" dt="2025-06-14T12:17:20.495" v="336" actId="478"/>
          <ac:spMkLst>
            <pc:docMk/>
            <pc:sldMk cId="1188565810" sldId="2147480491"/>
            <ac:spMk id="11" creationId="{45AC62B1-EAD2-61AF-98B0-D5FF015CB8E6}"/>
          </ac:spMkLst>
        </pc:spChg>
        <pc:spChg chg="add del mod">
          <ac:chgData name="K P, Pradeep" userId="8e0297e5-1d60-4ee2-bfea-6bc5d098bef0" providerId="ADAL" clId="{AE003B93-FD8B-498B-805E-AF57206D0107}" dt="2025-06-14T12:34:04.502" v="592" actId="478"/>
          <ac:spMkLst>
            <pc:docMk/>
            <pc:sldMk cId="1188565810" sldId="2147480491"/>
            <ac:spMk id="12" creationId="{6CA619F3-170B-B955-2490-3A11F8C4E29B}"/>
          </ac:spMkLst>
        </pc:spChg>
        <pc:spChg chg="add">
          <ac:chgData name="K P, Pradeep" userId="8e0297e5-1d60-4ee2-bfea-6bc5d098bef0" providerId="ADAL" clId="{AE003B93-FD8B-498B-805E-AF57206D0107}" dt="2025-06-14T12:25:02.620" v="425"/>
          <ac:spMkLst>
            <pc:docMk/>
            <pc:sldMk cId="1188565810" sldId="2147480491"/>
            <ac:spMk id="13" creationId="{AE4D2239-395E-F3CE-E6CF-1F05EBC8C177}"/>
          </ac:spMkLst>
        </pc:spChg>
        <pc:spChg chg="add">
          <ac:chgData name="K P, Pradeep" userId="8e0297e5-1d60-4ee2-bfea-6bc5d098bef0" providerId="ADAL" clId="{AE003B93-FD8B-498B-805E-AF57206D0107}" dt="2025-06-14T12:25:37.047" v="432"/>
          <ac:spMkLst>
            <pc:docMk/>
            <pc:sldMk cId="1188565810" sldId="2147480491"/>
            <ac:spMk id="14" creationId="{3B9C10D7-6736-F727-AE34-F39014E53D12}"/>
          </ac:spMkLst>
        </pc:spChg>
        <pc:spChg chg="add">
          <ac:chgData name="K P, Pradeep" userId="8e0297e5-1d60-4ee2-bfea-6bc5d098bef0" providerId="ADAL" clId="{AE003B93-FD8B-498B-805E-AF57206D0107}" dt="2025-06-14T12:26:35.726" v="446"/>
          <ac:spMkLst>
            <pc:docMk/>
            <pc:sldMk cId="1188565810" sldId="2147480491"/>
            <ac:spMk id="15" creationId="{C0DEE1BD-DCE3-ADB1-2BB0-0F13E3CD82A2}"/>
          </ac:spMkLst>
        </pc:spChg>
        <pc:spChg chg="add">
          <ac:chgData name="K P, Pradeep" userId="8e0297e5-1d60-4ee2-bfea-6bc5d098bef0" providerId="ADAL" clId="{AE003B93-FD8B-498B-805E-AF57206D0107}" dt="2025-06-14T12:30:59.494" v="478"/>
          <ac:spMkLst>
            <pc:docMk/>
            <pc:sldMk cId="1188565810" sldId="2147480491"/>
            <ac:spMk id="16" creationId="{5F524DAD-9101-E819-39B9-19B70B6E2741}"/>
          </ac:spMkLst>
        </pc:spChg>
        <pc:spChg chg="add">
          <ac:chgData name="K P, Pradeep" userId="8e0297e5-1d60-4ee2-bfea-6bc5d098bef0" providerId="ADAL" clId="{AE003B93-FD8B-498B-805E-AF57206D0107}" dt="2025-06-14T12:33:01.245" v="538"/>
          <ac:spMkLst>
            <pc:docMk/>
            <pc:sldMk cId="1188565810" sldId="2147480491"/>
            <ac:spMk id="17" creationId="{2C8B5FEA-8A01-15F8-BE5A-CD58B2A4C675}"/>
          </ac:spMkLst>
        </pc:spChg>
        <pc:spChg chg="add mod">
          <ac:chgData name="K P, Pradeep" userId="8e0297e5-1d60-4ee2-bfea-6bc5d098bef0" providerId="ADAL" clId="{AE003B93-FD8B-498B-805E-AF57206D0107}" dt="2025-06-14T12:33:12.080" v="540"/>
          <ac:spMkLst>
            <pc:docMk/>
            <pc:sldMk cId="1188565810" sldId="2147480491"/>
            <ac:spMk id="18" creationId="{1D3CF1BA-3B12-9923-9D4E-08436D961C73}"/>
          </ac:spMkLst>
        </pc:spChg>
      </pc:sldChg>
      <pc:sldChg chg="modSp mod">
        <pc:chgData name="K P, Pradeep" userId="8e0297e5-1d60-4ee2-bfea-6bc5d098bef0" providerId="ADAL" clId="{AE003B93-FD8B-498B-805E-AF57206D0107}" dt="2025-06-14T14:03:28.561" v="973" actId="1076"/>
        <pc:sldMkLst>
          <pc:docMk/>
          <pc:sldMk cId="3046689714" sldId="2147480492"/>
        </pc:sldMkLst>
        <pc:spChg chg="mod">
          <ac:chgData name="K P, Pradeep" userId="8e0297e5-1d60-4ee2-bfea-6bc5d098bef0" providerId="ADAL" clId="{AE003B93-FD8B-498B-805E-AF57206D0107}" dt="2025-06-14T14:03:28.561" v="973" actId="1076"/>
          <ac:spMkLst>
            <pc:docMk/>
            <pc:sldMk cId="3046689714" sldId="2147480492"/>
            <ac:spMk id="6" creationId="{716851AD-ADCD-0B6A-2FCA-EFD3A86178D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79DD65-369C-4F9B-9F39-0E2E5BB5369A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19B15E-DC56-4325-9418-F9CC5EE0D9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7306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/>
              <a:t>Tweak to remove the performance feedback</a:t>
            </a:r>
            <a:br>
              <a:rPr lang="en-US" b="1"/>
            </a:br>
            <a:r>
              <a:rPr lang="en-US" b="1"/>
              <a:t>Interview Questions</a:t>
            </a:r>
            <a:br>
              <a:rPr lang="en-US" b="1"/>
            </a:br>
            <a:r>
              <a:rPr lang="en-US" b="1"/>
              <a:t>How would you design an end-to-end architecture for a personalized learning recommendation system using Azure?</a:t>
            </a:r>
            <a:br>
              <a:rPr lang="en-US"/>
            </a:br>
            <a:r>
              <a:rPr lang="en-US" i="1"/>
              <a:t>Tip: Mention key Azure services, data flow, and integration points.</a:t>
            </a:r>
            <a:endParaRPr lang="en-US"/>
          </a:p>
          <a:p>
            <a:r>
              <a:rPr lang="en-US" b="1"/>
              <a:t>Which machine learning algorithms are suitable for recommending courses based on performance feedback?</a:t>
            </a:r>
            <a:br>
              <a:rPr lang="en-US"/>
            </a:br>
            <a:r>
              <a:rPr lang="en-US" i="1"/>
              <a:t>Tip: Discuss collaborative filtering, content-based filtering, and hybrid approaches.</a:t>
            </a:r>
            <a:endParaRPr lang="en-US"/>
          </a:p>
          <a:p>
            <a:r>
              <a:rPr lang="en-US" b="1"/>
              <a:t>How would you ensure data privacy and security for sensitive employee information in this solution?</a:t>
            </a:r>
            <a:br>
              <a:rPr lang="en-US"/>
            </a:br>
            <a:r>
              <a:rPr lang="en-US" i="1"/>
              <a:t>Tip: Highlight encryption, access controls, Azure Key Vault, and compliance.</a:t>
            </a:r>
            <a:endParaRPr lang="en-US"/>
          </a:p>
          <a:p>
            <a:r>
              <a:rPr lang="en-US" b="1"/>
              <a:t>What techniques would you use to analyze unstructured performance feedback text?</a:t>
            </a:r>
            <a:br>
              <a:rPr lang="en-US"/>
            </a:br>
            <a:r>
              <a:rPr lang="en-US" i="1"/>
              <a:t>Tip: Mention NLP methods, transformers, and sentiment/keyword extraction.</a:t>
            </a:r>
            <a:endParaRPr lang="en-US"/>
          </a:p>
          <a:p>
            <a:r>
              <a:rPr lang="en-US" b="1"/>
              <a:t>How would you integrate the recommendation engine with existing HR and L&amp;D systems?</a:t>
            </a:r>
            <a:br>
              <a:rPr lang="en-US"/>
            </a:br>
            <a:r>
              <a:rPr lang="en-US" i="1"/>
              <a:t>Tip: Talk about APIs, Azure Data Factory, and secure data exchange.</a:t>
            </a:r>
            <a:endParaRPr lang="en-US"/>
          </a:p>
          <a:p>
            <a:r>
              <a:rPr lang="en-US" b="1"/>
              <a:t>How do you ensure the recommendation service meets the 2-second response time requirement?</a:t>
            </a:r>
            <a:br>
              <a:rPr lang="en-US"/>
            </a:br>
            <a:r>
              <a:rPr lang="en-US" i="1"/>
              <a:t>Tip: Discuss model optimization, caching, and scalable Azure services.</a:t>
            </a:r>
            <a:endParaRPr lang="en-US"/>
          </a:p>
          <a:p>
            <a:r>
              <a:rPr lang="en-US" b="1"/>
              <a:t>What metrics would you track to evaluate the effectiveness of your recommendations?</a:t>
            </a:r>
            <a:br>
              <a:rPr lang="en-US"/>
            </a:br>
            <a:r>
              <a:rPr lang="en-US" i="1"/>
              <a:t>Tip: Suggest precision, recall, user engagement, and learning outcomes.</a:t>
            </a:r>
            <a:endParaRPr lang="en-US"/>
          </a:p>
          <a:p>
            <a:r>
              <a:rPr lang="en-US" b="1"/>
              <a:t>How would you continuously improve the recommendation quality over time?</a:t>
            </a:r>
            <a:br>
              <a:rPr lang="en-US"/>
            </a:br>
            <a:r>
              <a:rPr lang="en-US" i="1"/>
              <a:t>Tip: Explain feedback loops, retraining, and A/B testing.</a:t>
            </a:r>
            <a:endParaRPr lang="en-US"/>
          </a:p>
          <a:p>
            <a:r>
              <a:rPr lang="en-US" b="1"/>
              <a:t>What are the main challenges in handling role-based recommendations, and how would you address them?</a:t>
            </a:r>
            <a:br>
              <a:rPr lang="en-US"/>
            </a:br>
            <a:r>
              <a:rPr lang="en-US" i="1"/>
              <a:t>Tip: Address role taxonomy, dynamic mapping, and context-aware filtering.</a:t>
            </a:r>
            <a:endParaRPr lang="en-US"/>
          </a:p>
          <a:p>
            <a:r>
              <a:rPr lang="en-US" b="1"/>
              <a:t>How would you handle system failures to maintain 99.9% availability?</a:t>
            </a:r>
            <a:br>
              <a:rPr lang="en-US"/>
            </a:br>
            <a:r>
              <a:rPr lang="en-US" i="1"/>
              <a:t>Tip: Mention redundancy, Azure Monitor, auto-scaling, and failover strategies.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19B15E-DC56-4325-9418-F9CC5EE0D9A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5873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No Foot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36207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1 teal 3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7715504" cy="1592403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5000"/>
              </a:lnSpc>
              <a:defRPr sz="3600" b="1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7715504" cy="1566532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615D5D4-5009-4C05-003D-D3068B928D65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b="0" noProof="0" smtClean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b="0" noProof="0">
              <a:solidFill>
                <a:schemeClr val="tx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A49EB00-6471-E763-DFB4-0F2641ED6BEB}"/>
              </a:ext>
            </a:extLst>
          </p:cNvPr>
          <p:cNvSpPr txBox="1"/>
          <p:nvPr userDrawn="1"/>
        </p:nvSpPr>
        <p:spPr>
          <a:xfrm>
            <a:off x="6485817" y="6477001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ONFIDENTIAL – FOR INTERNAL USE ONLY </a:t>
            </a:r>
            <a:endParaRPr lang="en-US" sz="800" b="0" noProof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603898-3CEE-99D3-70C9-5F1C010C5ED2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0" algn="r">
              <a:spcBef>
                <a:spcPts val="0"/>
              </a:spcBef>
              <a:buSzPct val="100000"/>
              <a:buFont typeface="Arial"/>
              <a:buNone/>
              <a:defRPr sz="900" b="0" i="0" u="none" strike="noStrik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/>
            <a:r>
              <a:rPr lang="en-US" sz="800" b="0">
                <a:solidFill>
                  <a:schemeClr val="tx1"/>
                </a:solidFill>
              </a:rPr>
              <a:t>Copyright © 2025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824967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Divider 1 teal 3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63296" y="1728217"/>
            <a:ext cx="7715504" cy="1592403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5000"/>
              </a:lnSpc>
              <a:defRPr sz="3600" b="1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Add text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7715504" cy="1566532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615D5D4-5009-4C05-003D-D3068B928D65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b="0" noProof="0" smtClean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b="0" noProof="0">
              <a:solidFill>
                <a:schemeClr val="tx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603898-3CEE-99D3-70C9-5F1C010C5ED2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0" algn="r">
              <a:spcBef>
                <a:spcPts val="0"/>
              </a:spcBef>
              <a:buSzPct val="100000"/>
              <a:buFont typeface="Arial"/>
              <a:buNone/>
              <a:defRPr sz="900" b="0" i="0" u="none" strike="noStrik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/>
            <a:r>
              <a:rPr lang="en-US" sz="800" b="0">
                <a:solidFill>
                  <a:schemeClr val="tx1"/>
                </a:solidFill>
              </a:rPr>
              <a:t>Copyright © 2025 Deloitte Development LLC. All rights reserved.</a:t>
            </a:r>
          </a:p>
        </p:txBody>
      </p:sp>
      <p:pic>
        <p:nvPicPr>
          <p:cNvPr id="7" name="Picture Placeholder 12" descr="A circular pattern of dots&#10;&#10;Description automatically generated with medium confidence">
            <a:extLst>
              <a:ext uri="{FF2B5EF4-FFF2-40B4-BE49-F238E27FC236}">
                <a16:creationId xmlns:a16="http://schemas.microsoft.com/office/drawing/2014/main" id="{3D1C3FB2-0979-2D8B-0314-BE5B11B05C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626245" y="167444"/>
            <a:ext cx="3549904" cy="6600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2446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Divider 1 teal 3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63296" y="1728217"/>
            <a:ext cx="7715504" cy="1592403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5000"/>
              </a:lnSpc>
              <a:defRPr sz="3600" b="1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Add text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7715504" cy="1566532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615D5D4-5009-4C05-003D-D3068B928D65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b="0" noProof="0" smtClean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b="0" noProof="0">
              <a:solidFill>
                <a:schemeClr val="tx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603898-3CEE-99D3-70C9-5F1C010C5ED2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0" algn="r">
              <a:spcBef>
                <a:spcPts val="0"/>
              </a:spcBef>
              <a:buSzPct val="100000"/>
              <a:buFont typeface="Arial"/>
              <a:buNone/>
              <a:defRPr sz="900" b="0" i="0" u="none" strike="noStrik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/>
            <a:r>
              <a:rPr lang="en-US" sz="800" b="0">
                <a:solidFill>
                  <a:schemeClr val="bg1"/>
                </a:solidFill>
              </a:rPr>
              <a:t>Copyright © 2025 Deloitte Development LLC. All rights reserved.</a:t>
            </a:r>
          </a:p>
        </p:txBody>
      </p:sp>
      <p:pic>
        <p:nvPicPr>
          <p:cNvPr id="7" name="Picture Placeholder 12" descr="A circular pattern of dots&#10;&#10;Description automatically generated with medium confidence">
            <a:extLst>
              <a:ext uri="{FF2B5EF4-FFF2-40B4-BE49-F238E27FC236}">
                <a16:creationId xmlns:a16="http://schemas.microsoft.com/office/drawing/2014/main" id="{3D1C3FB2-0979-2D8B-0314-BE5B11B05C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626245" y="167444"/>
            <a:ext cx="3549904" cy="6600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6226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054F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88168E9-29A3-C49F-C138-D70E0D724200}"/>
              </a:ext>
            </a:extLst>
          </p:cNvPr>
          <p:cNvSpPr/>
          <p:nvPr userDrawn="1"/>
        </p:nvSpPr>
        <p:spPr bwMode="gray">
          <a:xfrm>
            <a:off x="0" y="5599416"/>
            <a:ext cx="12192000" cy="1258584"/>
          </a:xfrm>
          <a:prstGeom prst="rect">
            <a:avLst/>
          </a:prstGeom>
          <a:solidFill>
            <a:srgbClr val="054F5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32631CA-C938-BA5A-131C-425FEE5D917D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b="0" noProof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b="0" noProof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66133D3-DA80-DA1E-42C6-B8116843452A}"/>
              </a:ext>
            </a:extLst>
          </p:cNvPr>
          <p:cNvSpPr txBox="1"/>
          <p:nvPr userDrawn="1"/>
        </p:nvSpPr>
        <p:spPr>
          <a:xfrm>
            <a:off x="6485817" y="6477001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LASSIFICATION: CONFIDENTIAL – FOR INTERNAL USE ONLY</a:t>
            </a:r>
            <a:endParaRPr lang="en-US" sz="800" b="0" noProof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A92EC22-0169-9BF4-7813-00666C9E1288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0" algn="r">
              <a:spcBef>
                <a:spcPts val="0"/>
              </a:spcBef>
              <a:buSzPct val="100000"/>
              <a:buFont typeface="Arial"/>
              <a:buNone/>
              <a:defRPr sz="900" b="0" i="0" u="none" strike="noStrik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/>
            <a:r>
              <a:rPr lang="en-US" sz="800" b="0">
                <a:solidFill>
                  <a:schemeClr val="bg1"/>
                </a:solidFill>
              </a:rPr>
              <a:t>Copyright © 2025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794161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907246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26FB2E4B-5D1B-4250-844C-3D50DE4A9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6359449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D89C7E6-37F5-4005-B8BE-658A5ADDE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150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0FA13130-E22F-4F71-97DB-A64E7A175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150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4691671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4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2776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3273902"/>
      </p:ext>
    </p:extLst>
  </p:cSld>
  <p:clrMapOvr>
    <a:masterClrMapping/>
  </p:clrMapOvr>
  <p:transition>
    <p:fade/>
  </p:transition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6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9046415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, Subtitle, 2 columns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400">
                <a:solidFill>
                  <a:schemeClr val="tx1"/>
                </a:solidFill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tx1"/>
                </a:solidFill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tx1"/>
                </a:solidFill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tx1"/>
                </a:solidFill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400">
                <a:solidFill>
                  <a:schemeClr val="tx1"/>
                </a:solidFill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tx1"/>
                </a:solidFill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tx1"/>
                </a:solidFill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tx1"/>
                </a:solidFill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1174369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C68220B9-53D3-434F-999D-90F07DAA23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9" name="Oval 5">
              <a:extLst>
                <a:ext uri="{FF2B5EF4-FFF2-40B4-BE49-F238E27FC236}">
                  <a16:creationId xmlns:a16="http://schemas.microsoft.com/office/drawing/2014/main" id="{8B229135-140E-4C82-9088-DB80D93F74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0B69BD4-36A4-4DB1-B5FD-89FB06A52E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49F4DC4F-9DBA-44B7-B892-0083CA8892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67D5F0A5-5E6C-4963-9090-4DAF5F01D2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22C7545E-5780-4586-9808-699BCCFD7C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489CD93F-3551-40B6-A00B-6CC2A8F5F4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B6557C16-D6D6-4B71-81E6-ADCF6CEB1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E187CACC-821A-4265-91F5-84823A98F3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31AAFBBA-1DE2-4D95-9B71-B343B10650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D7679E8F-E1FF-41C4-93DF-F6A97D92D11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30" name="Title 1">
            <a:extLst>
              <a:ext uri="{FF2B5EF4-FFF2-40B4-BE49-F238E27FC236}">
                <a16:creationId xmlns:a16="http://schemas.microsoft.com/office/drawing/2014/main" id="{8FD003A2-1866-D75A-3583-180AE3A50E8D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37323" y="5284972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2800" b="1">
                <a:solidFill>
                  <a:srgbClr val="26890D"/>
                </a:solidFill>
                <a:latin typeface="+mj-lt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2FC9FCC8-9504-00A0-5F02-48769B05CAE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7323" y="6266079"/>
            <a:ext cx="4446269" cy="2730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spcAft>
                <a:spcPts val="0"/>
              </a:spcAft>
              <a:defRPr sz="1400" b="0" i="0" cap="all" baseline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3" name="Picture Placeholder 11">
            <a:extLst>
              <a:ext uri="{FF2B5EF4-FFF2-40B4-BE49-F238E27FC236}">
                <a16:creationId xmlns:a16="http://schemas.microsoft.com/office/drawing/2014/main" id="{90D0480F-3E92-4967-3A72-D0CAFDD65E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90868" y="726832"/>
            <a:ext cx="5410264" cy="540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270105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, Subtitle, 3 columns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9891263-8779-41FC-9383-3693CA16CB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730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400" b="0">
                <a:solidFill>
                  <a:schemeClr val="tx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tx1"/>
                </a:solidFill>
              </a:defRPr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tx1"/>
                </a:solidFill>
              </a:defRPr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tx1"/>
                </a:solidFill>
              </a:defRPr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F862111-A699-4618-9902-CD7B1ECC90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400" b="0">
                <a:solidFill>
                  <a:schemeClr val="tx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tx1"/>
                </a:solidFill>
              </a:defRPr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tx1"/>
                </a:solidFill>
              </a:defRPr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tx1"/>
                </a:solidFill>
              </a:defRPr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36FEA86-C43A-4BD9-AC25-65C16B3F48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440"/>
            <a:ext cx="3556000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400" b="0">
                <a:solidFill>
                  <a:schemeClr val="tx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tx1"/>
                </a:solidFill>
              </a:defRPr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tx1"/>
                </a:solidFill>
              </a:defRPr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tx1"/>
                </a:solidFill>
              </a:defRPr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D600A6A-61E2-4C72-A87B-39D905EFB4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D5910C4A-3157-47A5-8677-1140132DE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2979582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BDE11DF-4C11-B1C9-0485-9F8C0A948E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31543" y="2083826"/>
            <a:ext cx="9328911" cy="29038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99276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 Accessible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5324" y="1957962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2979" y="4362631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500785" y="4362631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5149" y="1962255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344" y="196059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400" b="0">
                <a:solidFill>
                  <a:schemeClr val="tx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tx1"/>
                </a:solidFill>
              </a:defRPr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tx1"/>
                </a:solidFill>
              </a:defRPr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tx1"/>
                </a:solidFill>
              </a:defRPr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7042" y="1951979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400" b="0">
                <a:solidFill>
                  <a:schemeClr val="tx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tx1"/>
                </a:solidFill>
              </a:defRPr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tx1"/>
                </a:solidFill>
              </a:defRPr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tx1"/>
                </a:solidFill>
              </a:defRPr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344" y="4360984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400" b="0">
                <a:solidFill>
                  <a:schemeClr val="tx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tx1"/>
                </a:solidFill>
              </a:defRPr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tx1"/>
                </a:solidFill>
              </a:defRPr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tx1"/>
                </a:solidFill>
              </a:defRPr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7043" y="4360984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400" b="0">
                <a:solidFill>
                  <a:schemeClr val="tx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tx1"/>
                </a:solidFill>
              </a:defRPr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tx1"/>
                </a:solidFill>
              </a:defRPr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tx1"/>
                </a:solidFill>
              </a:defRPr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3C8C216-A0D5-48CE-BB18-6E34DE5AE0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6B3ABAE-3971-4ECC-8E25-1E94617FBF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3E3D5E-69E0-409C-B43B-3D03BAF8E640}"/>
              </a:ext>
            </a:extLst>
          </p:cNvPr>
          <p:cNvSpPr/>
          <p:nvPr userDrawn="1"/>
        </p:nvSpPr>
        <p:spPr>
          <a:xfrm>
            <a:off x="470343" y="1714500"/>
            <a:ext cx="5486400" cy="1583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C51DC9-50A0-4091-8F6F-9150D453B6B1}"/>
              </a:ext>
            </a:extLst>
          </p:cNvPr>
          <p:cNvSpPr/>
          <p:nvPr userDrawn="1"/>
        </p:nvSpPr>
        <p:spPr>
          <a:xfrm>
            <a:off x="6246196" y="1714500"/>
            <a:ext cx="5486400" cy="1616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18D7C8-CEED-48A7-ADB2-7610B12C1B07}"/>
              </a:ext>
            </a:extLst>
          </p:cNvPr>
          <p:cNvSpPr/>
          <p:nvPr userDrawn="1"/>
        </p:nvSpPr>
        <p:spPr>
          <a:xfrm>
            <a:off x="470343" y="4126017"/>
            <a:ext cx="5486400" cy="1583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403C2-4204-4E69-B696-73BE1FE1F740}"/>
              </a:ext>
            </a:extLst>
          </p:cNvPr>
          <p:cNvSpPr/>
          <p:nvPr userDrawn="1"/>
        </p:nvSpPr>
        <p:spPr>
          <a:xfrm>
            <a:off x="6246196" y="4126017"/>
            <a:ext cx="5486400" cy="1616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38886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&amp;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28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5D12E0-3A60-C0B1-2FFE-BEA69E70659F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b="0" noProof="0" smtClean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b="0" noProof="0">
              <a:solidFill>
                <a:schemeClr val="tx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B1BEF2-13FB-75DE-8AEF-412362B1EF85}"/>
              </a:ext>
            </a:extLst>
          </p:cNvPr>
          <p:cNvSpPr txBox="1"/>
          <p:nvPr userDrawn="1"/>
        </p:nvSpPr>
        <p:spPr>
          <a:xfrm>
            <a:off x="6485817" y="6477001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LASSIFICATION: CONFIDENTIAL – FOR INTERNAL USE ONLY</a:t>
            </a:r>
            <a:endParaRPr lang="en-US" sz="800" b="0" noProof="0">
              <a:solidFill>
                <a:schemeClr val="tx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FF6A49-FAA4-50F3-9898-0EBAABB1BE0B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0" algn="r">
              <a:spcBef>
                <a:spcPts val="0"/>
              </a:spcBef>
              <a:buSzPct val="100000"/>
              <a:buFont typeface="Arial"/>
              <a:buNone/>
              <a:defRPr sz="900" b="0" i="0" u="none" strike="noStrik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/>
            <a:r>
              <a:rPr lang="en-US" sz="800" b="0">
                <a:solidFill>
                  <a:schemeClr val="tx1"/>
                </a:solidFill>
              </a:rPr>
              <a:t>Copyright © 2025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7543025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, Subtitle, 3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9891263-8779-41FC-9383-3693CA16CB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730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400" b="0">
                <a:solidFill>
                  <a:srgbClr val="000000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rgbClr val="000000"/>
                </a:solidFill>
              </a:defRPr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rgbClr val="000000"/>
                </a:solidFill>
              </a:defRPr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rgbClr val="000000"/>
                </a:solidFill>
              </a:defRPr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rgbClr val="000000"/>
                </a:solidFill>
              </a:defRPr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F862111-A699-4618-9902-CD7B1ECC90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400" b="0">
                <a:solidFill>
                  <a:srgbClr val="000000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rgbClr val="000000"/>
                </a:solidFill>
              </a:defRPr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rgbClr val="000000"/>
                </a:solidFill>
              </a:defRPr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rgbClr val="000000"/>
                </a:solidFill>
              </a:defRPr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rgbClr val="000000"/>
                </a:solidFill>
              </a:defRPr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36FEA86-C43A-4BD9-AC25-65C16B3F48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440"/>
            <a:ext cx="3556000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400" b="0">
                <a:solidFill>
                  <a:srgbClr val="000000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rgbClr val="000000"/>
                </a:solidFill>
              </a:defRPr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rgbClr val="000000"/>
                </a:solidFill>
              </a:defRPr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rgbClr val="000000"/>
                </a:solidFill>
              </a:defRPr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rgbClr val="000000"/>
                </a:solidFill>
              </a:defRPr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D600A6A-61E2-4C72-A87B-39D905EFB4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D5910C4A-3157-47A5-8677-1140132DE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2951039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2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5324" y="1853601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2979" y="4258270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500785" y="4258270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5149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344" y="1856232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400" b="0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7042" y="1847618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400" b="0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344" y="425662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400" b="0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7043" y="4256623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400" b="0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3C8C216-A0D5-48CE-BB18-6E34DE5AE0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6B3ABAE-3971-4ECC-8E25-1E94617FBF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3E3D5E-69E0-409C-B43B-3D03BAF8E640}"/>
              </a:ext>
            </a:extLst>
          </p:cNvPr>
          <p:cNvSpPr/>
          <p:nvPr userDrawn="1"/>
        </p:nvSpPr>
        <p:spPr>
          <a:xfrm>
            <a:off x="470343" y="1610139"/>
            <a:ext cx="5486400" cy="1583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C51DC9-50A0-4091-8F6F-9150D453B6B1}"/>
              </a:ext>
            </a:extLst>
          </p:cNvPr>
          <p:cNvSpPr/>
          <p:nvPr userDrawn="1"/>
        </p:nvSpPr>
        <p:spPr>
          <a:xfrm>
            <a:off x="6246196" y="1610139"/>
            <a:ext cx="5486400" cy="1616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18D7C8-CEED-48A7-ADB2-7610B12C1B07}"/>
              </a:ext>
            </a:extLst>
          </p:cNvPr>
          <p:cNvSpPr/>
          <p:nvPr userDrawn="1"/>
        </p:nvSpPr>
        <p:spPr>
          <a:xfrm>
            <a:off x="470343" y="4021656"/>
            <a:ext cx="5486400" cy="1583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403C2-4204-4E69-B696-73BE1FE1F740}"/>
              </a:ext>
            </a:extLst>
          </p:cNvPr>
          <p:cNvSpPr/>
          <p:nvPr userDrawn="1"/>
        </p:nvSpPr>
        <p:spPr>
          <a:xfrm>
            <a:off x="6246196" y="4021656"/>
            <a:ext cx="5486400" cy="1616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74298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, Foot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46283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, Foot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1409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End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6185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675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6187" y="5995943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4CF159A-4547-5BC4-6103-0C4B8B9424F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9" name="Oval 5">
              <a:extLst>
                <a:ext uri="{FF2B5EF4-FFF2-40B4-BE49-F238E27FC236}">
                  <a16:creationId xmlns:a16="http://schemas.microsoft.com/office/drawing/2014/main" id="{6498A3D1-DB3C-7716-CAD4-CF5870A386C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735F3DAC-72E5-0238-10CA-693BC3E108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1" name="Rectangle 7">
              <a:extLst>
                <a:ext uri="{FF2B5EF4-FFF2-40B4-BE49-F238E27FC236}">
                  <a16:creationId xmlns:a16="http://schemas.microsoft.com/office/drawing/2014/main" id="{E903205E-FAC2-AAD7-A971-879628E869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C6FF3478-3F04-C698-A297-6514FBADA0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3" name="Rectangle 9">
              <a:extLst>
                <a:ext uri="{FF2B5EF4-FFF2-40B4-BE49-F238E27FC236}">
                  <a16:creationId xmlns:a16="http://schemas.microsoft.com/office/drawing/2014/main" id="{4D0EBBFC-1F23-6DE0-04D0-C5EBB45077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4" name="Rectangle 10">
              <a:extLst>
                <a:ext uri="{FF2B5EF4-FFF2-40B4-BE49-F238E27FC236}">
                  <a16:creationId xmlns:a16="http://schemas.microsoft.com/office/drawing/2014/main" id="{BF09A635-6A1E-13B3-D00D-64D80A253F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5" name="Freeform 11">
              <a:extLst>
                <a:ext uri="{FF2B5EF4-FFF2-40B4-BE49-F238E27FC236}">
                  <a16:creationId xmlns:a16="http://schemas.microsoft.com/office/drawing/2014/main" id="{6C6B929E-446F-B8C0-F59F-4833755679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6" name="Freeform 12">
              <a:extLst>
                <a:ext uri="{FF2B5EF4-FFF2-40B4-BE49-F238E27FC236}">
                  <a16:creationId xmlns:a16="http://schemas.microsoft.com/office/drawing/2014/main" id="{7122E2DF-FD60-A229-FE2B-66A4269E2B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7" name="Freeform 13">
              <a:extLst>
                <a:ext uri="{FF2B5EF4-FFF2-40B4-BE49-F238E27FC236}">
                  <a16:creationId xmlns:a16="http://schemas.microsoft.com/office/drawing/2014/main" id="{75DAB404-86D3-D8BA-4DF1-B713302C09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8" name="Freeform 14">
              <a:extLst>
                <a:ext uri="{FF2B5EF4-FFF2-40B4-BE49-F238E27FC236}">
                  <a16:creationId xmlns:a16="http://schemas.microsoft.com/office/drawing/2014/main" id="{B9DBA252-F631-F59E-0898-4FF152843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61359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675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12076" y="5995943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95A5C22-99C5-BA7C-1850-924C21E6D174}"/>
              </a:ext>
            </a:extLst>
          </p:cNvPr>
          <p:cNvGrpSpPr/>
          <p:nvPr userDrawn="1"/>
        </p:nvGrpSpPr>
        <p:grpSpPr>
          <a:xfrm>
            <a:off x="463296" y="338625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E0276EE-6324-DD09-12AF-7E1C9960BF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B995BC70-702E-012D-A121-16973F4D5F1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0DD9BE0D-6E46-299A-8E25-F419B88834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FB28183-B5AB-F969-4AA8-AA931B61D8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B74DCB0-7C9B-36CA-4F2E-1C100CB5BB5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E5803A6-DC2D-B3EB-51E7-28620955BD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B795DFB9-0C6C-3032-034B-BFF6583B07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1AEBF355-88D9-D65B-D15A-E1FFB2D685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F78971FE-8F59-3A16-FAD8-DB2525B377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DE37184F-9778-C05F-6BE3-9EE02F6841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7988328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>
            <a:extLst>
              <a:ext uri="{FF2B5EF4-FFF2-40B4-BE49-F238E27FC236}">
                <a16:creationId xmlns:a16="http://schemas.microsoft.com/office/drawing/2014/main" id="{B6F50CF5-77BF-459B-9A79-3C4CC22A0F3A}"/>
              </a:ext>
            </a:extLst>
          </p:cNvPr>
          <p:cNvGrpSpPr/>
          <p:nvPr userDrawn="1"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E9128BED-07B9-451E-B858-7CC1141471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C68196BA-7D11-4539-BDF9-983E22D342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42AF1C77-6287-4499-B04A-87B27165DE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25579AED-BEB3-43B3-8ED1-4F00DD4BD00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E45E9D0B-F5C0-4893-92F0-D69A666C1B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DE5C210F-0B06-4949-8E4D-64301D93E9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F24B8B3C-D0AE-4485-8A30-2C7813EFD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0DD172EE-B893-46D5-9A64-6715E43129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41641FDD-35E1-4F42-B99C-FFA6812569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DFE30DEA-FA20-4812-875C-D70A3CA3F5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8435847-3ACD-90FF-F30B-F196E7782F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7323" y="6266079"/>
            <a:ext cx="4446269" cy="2730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spcAft>
                <a:spcPts val="0"/>
              </a:spcAft>
              <a:defRPr sz="1400" b="0" i="0" cap="all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3" name="Picture Placeholder 11">
            <a:extLst>
              <a:ext uri="{FF2B5EF4-FFF2-40B4-BE49-F238E27FC236}">
                <a16:creationId xmlns:a16="http://schemas.microsoft.com/office/drawing/2014/main" id="{49363E82-1EDD-CA64-293B-A4AB34795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90868" y="726832"/>
            <a:ext cx="5410264" cy="5404334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01B5682A-FA11-E54A-C79D-708B82747019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37323" y="5284972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2800" b="1">
                <a:solidFill>
                  <a:srgbClr val="26890D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1627233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3296" y="931985"/>
            <a:ext cx="11277600" cy="44664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4"/>
            <a:ext cx="11277600" cy="3647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CF2CDF94-8A4B-B946-A5A1-B8CEFEA26E22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63296" y="5473210"/>
            <a:ext cx="11277600" cy="10286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spcAft>
                <a:spcPts val="600"/>
              </a:spcAft>
              <a:buFontTx/>
              <a:buNone/>
              <a:defRPr sz="1100" b="1"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/>
              <a:defRPr sz="1200" b="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21183243"/>
      </p:ext>
    </p:extLst>
  </p:cSld>
  <p:clrMapOvr>
    <a:masterClrMapping/>
  </p:clrMapOvr>
  <p:transition>
    <p:fade/>
  </p:transition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189007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4521B40-6F86-1418-AC0B-0404FD323E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7171" y="1240171"/>
            <a:ext cx="4377657" cy="4377657"/>
          </a:xfrm>
          <a:prstGeom prst="rect">
            <a:avLst/>
          </a:prstGeom>
        </p:spPr>
      </p:pic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8B9DDECB-90E6-4132-BCD8-24EBC3764DB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907172" y="1242569"/>
            <a:ext cx="4377656" cy="437285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8FD003A2-1866-D75A-3583-180AE3A50E8D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37323" y="5284972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2800" b="1">
                <a:solidFill>
                  <a:srgbClr val="046A38"/>
                </a:solidFill>
                <a:latin typeface="+mj-lt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2FC9FCC8-9504-00A0-5F02-48769B05CAE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7323" y="6266079"/>
            <a:ext cx="4446269" cy="2730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spcAft>
                <a:spcPts val="0"/>
              </a:spcAft>
              <a:defRPr sz="1400" b="0" i="0" cap="all" baseline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65DC4DD-45D0-21DC-C4B7-91169BE53FBD}"/>
              </a:ext>
            </a:extLst>
          </p:cNvPr>
          <p:cNvSpPr txBox="1"/>
          <p:nvPr userDrawn="1"/>
        </p:nvSpPr>
        <p:spPr>
          <a:xfrm>
            <a:off x="6485817" y="6477001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LASSIFICATION: CONFIDENTIAL – FOR INTERNAL USE ONLY</a:t>
            </a:r>
            <a:endParaRPr lang="en-US" sz="800" b="0" noProof="0">
              <a:solidFill>
                <a:schemeClr val="tx1"/>
              </a:solidFill>
              <a:latin typeface="+mj-lt"/>
              <a:cs typeface="Calibri" panose="020F050202020403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9F3A321-1F8F-B858-DABC-5A33A0C0562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" name="Oval 5">
              <a:extLst>
                <a:ext uri="{FF2B5EF4-FFF2-40B4-BE49-F238E27FC236}">
                  <a16:creationId xmlns:a16="http://schemas.microsoft.com/office/drawing/2014/main" id="{571621AC-5AEC-E9E7-E26A-AC623C7C3F4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9943751D-AFC7-ABBA-E825-96C970CCDE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7" name="Rectangle 7">
              <a:extLst>
                <a:ext uri="{FF2B5EF4-FFF2-40B4-BE49-F238E27FC236}">
                  <a16:creationId xmlns:a16="http://schemas.microsoft.com/office/drawing/2014/main" id="{87155A53-7E11-8A4A-BE58-F76070DB0F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956B4950-0988-BDE0-9C51-94100483A6B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9" name="Rectangle 9">
              <a:extLst>
                <a:ext uri="{FF2B5EF4-FFF2-40B4-BE49-F238E27FC236}">
                  <a16:creationId xmlns:a16="http://schemas.microsoft.com/office/drawing/2014/main" id="{3191D359-F545-73DF-C83B-F339C1550D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0" name="Rectangle 10">
              <a:extLst>
                <a:ext uri="{FF2B5EF4-FFF2-40B4-BE49-F238E27FC236}">
                  <a16:creationId xmlns:a16="http://schemas.microsoft.com/office/drawing/2014/main" id="{654D6B37-884B-01E4-1449-27EE63E2E53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53AB844D-39D2-0000-25ED-92E1CDEED9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40E2896D-B743-7736-3E08-324D527BAF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FFF5904B-05BD-0CCE-AF56-454FB9B9CC0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C8BBD832-AC67-6D38-8B08-7958740AA0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288300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67535F1-E77C-F305-9C23-47C3DC808D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7171" y="1240171"/>
            <a:ext cx="4377657" cy="4377657"/>
          </a:xfrm>
          <a:prstGeom prst="rect">
            <a:avLst/>
          </a:prstGeom>
        </p:spPr>
      </p:pic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6D48EC33-1EB0-702C-33AF-5BA52F50322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907172" y="1242569"/>
            <a:ext cx="4377656" cy="437285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01B5682A-FA11-E54A-C79D-708B82747019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37323" y="5284972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2800" b="1">
                <a:solidFill>
                  <a:srgbClr val="046A38"/>
                </a:solidFill>
                <a:latin typeface="+mj-lt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8435847-3ACD-90FF-F30B-F196E7782F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7323" y="6266079"/>
            <a:ext cx="4446269" cy="2730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spcAft>
                <a:spcPts val="0"/>
              </a:spcAft>
              <a:defRPr sz="1400" b="0" i="0" cap="all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501A2D5-0FD6-D091-6783-471671831C44}"/>
              </a:ext>
            </a:extLst>
          </p:cNvPr>
          <p:cNvSpPr txBox="1"/>
          <p:nvPr userDrawn="1"/>
        </p:nvSpPr>
        <p:spPr>
          <a:xfrm>
            <a:off x="6485817" y="6477001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LASSIFICATION: CONFIDENTIAL – FOR INTERNAL USE ONLY</a:t>
            </a:r>
            <a:endParaRPr lang="en-US" sz="800" b="0" noProof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52EB93B-05F5-CD3B-F5FE-5DAE80682A69}"/>
              </a:ext>
            </a:extLst>
          </p:cNvPr>
          <p:cNvGrpSpPr/>
          <p:nvPr userDrawn="1"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5" name="Oval 5">
              <a:extLst>
                <a:ext uri="{FF2B5EF4-FFF2-40B4-BE49-F238E27FC236}">
                  <a16:creationId xmlns:a16="http://schemas.microsoft.com/office/drawing/2014/main" id="{EFCE4AD5-0CC5-6273-0938-92A6311F62E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60C6B1A-EFAF-BEF7-2297-C27E1791CA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162BB0E-F338-8ECE-09F2-5033CBBA6A6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3B2448D6-202F-F7B7-1C3E-833FE964A5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5BA231F-0A4A-99F3-721F-EB265055F82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BA3FD88-4488-7C78-8867-804F5271B49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C703C4B2-53D2-714C-3B93-F057B20F92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168114BF-CFE1-B1F9-670C-D01BAC85A0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ED138ACB-A831-90E6-FBA1-3B6141B266C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3B2DA11-F9A6-FC00-C082-C7E65015B8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272706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1 teal 3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9BEF51C-E9CD-A3F8-8881-905DC7171BD2}"/>
              </a:ext>
            </a:extLst>
          </p:cNvPr>
          <p:cNvSpPr/>
          <p:nvPr userDrawn="1"/>
        </p:nvSpPr>
        <p:spPr bwMode="gray">
          <a:xfrm>
            <a:off x="10129608" y="471593"/>
            <a:ext cx="1605192" cy="35782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0" bIns="88900" rtlCol="0" anchor="ctr"/>
          <a:lstStyle/>
          <a:p>
            <a:pPr>
              <a:buFont typeface="Wingdings 2" pitchFamily="18" charset="2"/>
              <a:buNone/>
            </a:pPr>
            <a:r>
              <a:rPr lang="en-US" sz="1000" b="1">
                <a:solidFill>
                  <a:schemeClr val="bg1"/>
                </a:solidFill>
              </a:rPr>
              <a:t>OPERATE WITH EXCELLENC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2C774DB-F6E7-355B-3698-F6B6BBB162CF}"/>
              </a:ext>
            </a:extLst>
          </p:cNvPr>
          <p:cNvSpPr/>
          <p:nvPr/>
        </p:nvSpPr>
        <p:spPr bwMode="gray">
          <a:xfrm rot="2700000">
            <a:off x="9478688" y="382236"/>
            <a:ext cx="536532" cy="536532"/>
          </a:xfrm>
          <a:prstGeom prst="rect">
            <a:avLst/>
          </a:prstGeom>
          <a:noFill/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grpSp>
        <p:nvGrpSpPr>
          <p:cNvPr id="22" name="Graphic 4">
            <a:extLst>
              <a:ext uri="{FF2B5EF4-FFF2-40B4-BE49-F238E27FC236}">
                <a16:creationId xmlns:a16="http://schemas.microsoft.com/office/drawing/2014/main" id="{02AF9AE7-1281-000F-83E2-CE5238A8887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574658" y="478367"/>
            <a:ext cx="344592" cy="344270"/>
            <a:chOff x="1515054" y="1893013"/>
            <a:chExt cx="361670" cy="361333"/>
          </a:xfrm>
          <a:solidFill>
            <a:schemeClr val="bg1"/>
          </a:solidFill>
        </p:grpSpPr>
        <p:sp>
          <p:nvSpPr>
            <p:cNvPr id="23" name="Graphic 4">
              <a:extLst>
                <a:ext uri="{FF2B5EF4-FFF2-40B4-BE49-F238E27FC236}">
                  <a16:creationId xmlns:a16="http://schemas.microsoft.com/office/drawing/2014/main" id="{188FEC01-B0AF-FD97-CD48-078B3DAB23D2}"/>
                </a:ext>
              </a:extLst>
            </p:cNvPr>
            <p:cNvSpPr/>
            <p:nvPr/>
          </p:nvSpPr>
          <p:spPr>
            <a:xfrm>
              <a:off x="1515054" y="1893013"/>
              <a:ext cx="361670" cy="361333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3 h 361333"/>
                <a:gd name="connsiteX3" fmla="*/ 361670 w 361670"/>
                <a:gd name="connsiteY3" fmla="*/ 180667 h 361333"/>
                <a:gd name="connsiteX4" fmla="*/ 180835 w 361670"/>
                <a:gd name="connsiteY4" fmla="*/ 0 h 361333"/>
                <a:gd name="connsiteX5" fmla="*/ 180835 w 361670"/>
                <a:gd name="connsiteY5" fmla="*/ 349204 h 361333"/>
                <a:gd name="connsiteX6" fmla="*/ 12780 w 361670"/>
                <a:gd name="connsiteY6" fmla="*/ 181305 h 361333"/>
                <a:gd name="connsiteX7" fmla="*/ 180835 w 361670"/>
                <a:gd name="connsiteY7" fmla="*/ 13406 h 361333"/>
                <a:gd name="connsiteX8" fmla="*/ 348891 w 361670"/>
                <a:gd name="connsiteY8" fmla="*/ 181305 h 361333"/>
                <a:gd name="connsiteX9" fmla="*/ 180835 w 361670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257"/>
                    <a:pt x="81152" y="361333"/>
                    <a:pt x="180835" y="361333"/>
                  </a:cubicBezTo>
                  <a:cubicBezTo>
                    <a:pt x="280518" y="361333"/>
                    <a:pt x="361670" y="280257"/>
                    <a:pt x="361670" y="180667"/>
                  </a:cubicBezTo>
                  <a:cubicBezTo>
                    <a:pt x="361670" y="81077"/>
                    <a:pt x="280518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3406"/>
                    <a:pt x="180835" y="13406"/>
                  </a:cubicBezTo>
                  <a:cubicBezTo>
                    <a:pt x="273489" y="13406"/>
                    <a:pt x="348891" y="88737"/>
                    <a:pt x="348891" y="181305"/>
                  </a:cubicBezTo>
                  <a:cubicBezTo>
                    <a:pt x="348891" y="273873"/>
                    <a:pt x="273489" y="349204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Graphic 4">
              <a:extLst>
                <a:ext uri="{FF2B5EF4-FFF2-40B4-BE49-F238E27FC236}">
                  <a16:creationId xmlns:a16="http://schemas.microsoft.com/office/drawing/2014/main" id="{DD96CE65-C040-7EDF-8BC6-6ADB27146474}"/>
                </a:ext>
              </a:extLst>
            </p:cNvPr>
            <p:cNvSpPr/>
            <p:nvPr/>
          </p:nvSpPr>
          <p:spPr>
            <a:xfrm>
              <a:off x="1674163" y="1975366"/>
              <a:ext cx="43451" cy="196626"/>
            </a:xfrm>
            <a:custGeom>
              <a:avLst/>
              <a:gdLst>
                <a:gd name="connsiteX0" fmla="*/ 37062 w 43451"/>
                <a:gd name="connsiteY0" fmla="*/ 34474 h 196626"/>
                <a:gd name="connsiteX1" fmla="*/ 28116 w 43451"/>
                <a:gd name="connsiteY1" fmla="*/ 34474 h 196626"/>
                <a:gd name="connsiteX2" fmla="*/ 28116 w 43451"/>
                <a:gd name="connsiteY2" fmla="*/ 6384 h 196626"/>
                <a:gd name="connsiteX3" fmla="*/ 21726 w 43451"/>
                <a:gd name="connsiteY3" fmla="*/ 0 h 196626"/>
                <a:gd name="connsiteX4" fmla="*/ 15336 w 43451"/>
                <a:gd name="connsiteY4" fmla="*/ 6384 h 196626"/>
                <a:gd name="connsiteX5" fmla="*/ 15336 w 43451"/>
                <a:gd name="connsiteY5" fmla="*/ 34474 h 196626"/>
                <a:gd name="connsiteX6" fmla="*/ 6390 w 43451"/>
                <a:gd name="connsiteY6" fmla="*/ 34474 h 196626"/>
                <a:gd name="connsiteX7" fmla="*/ 0 w 43451"/>
                <a:gd name="connsiteY7" fmla="*/ 40858 h 196626"/>
                <a:gd name="connsiteX8" fmla="*/ 0 w 43451"/>
                <a:gd name="connsiteY8" fmla="*/ 79162 h 196626"/>
                <a:gd name="connsiteX9" fmla="*/ 6390 w 43451"/>
                <a:gd name="connsiteY9" fmla="*/ 85546 h 196626"/>
                <a:gd name="connsiteX10" fmla="*/ 15336 w 43451"/>
                <a:gd name="connsiteY10" fmla="*/ 85546 h 196626"/>
                <a:gd name="connsiteX11" fmla="*/ 15336 w 43451"/>
                <a:gd name="connsiteY11" fmla="*/ 190243 h 196626"/>
                <a:gd name="connsiteX12" fmla="*/ 21726 w 43451"/>
                <a:gd name="connsiteY12" fmla="*/ 196627 h 196626"/>
                <a:gd name="connsiteX13" fmla="*/ 28116 w 43451"/>
                <a:gd name="connsiteY13" fmla="*/ 190243 h 196626"/>
                <a:gd name="connsiteX14" fmla="*/ 28116 w 43451"/>
                <a:gd name="connsiteY14" fmla="*/ 85546 h 196626"/>
                <a:gd name="connsiteX15" fmla="*/ 37062 w 43451"/>
                <a:gd name="connsiteY15" fmla="*/ 85546 h 196626"/>
                <a:gd name="connsiteX16" fmla="*/ 43451 w 43451"/>
                <a:gd name="connsiteY16" fmla="*/ 79162 h 196626"/>
                <a:gd name="connsiteX17" fmla="*/ 43451 w 43451"/>
                <a:gd name="connsiteY17" fmla="*/ 40858 h 196626"/>
                <a:gd name="connsiteX18" fmla="*/ 37062 w 43451"/>
                <a:gd name="connsiteY18" fmla="*/ 34474 h 196626"/>
                <a:gd name="connsiteX19" fmla="*/ 30672 w 43451"/>
                <a:gd name="connsiteY19" fmla="*/ 72778 h 196626"/>
                <a:gd name="connsiteX20" fmla="*/ 12780 w 43451"/>
                <a:gd name="connsiteY20" fmla="*/ 72778 h 196626"/>
                <a:gd name="connsiteX21" fmla="*/ 12780 w 43451"/>
                <a:gd name="connsiteY21" fmla="*/ 47242 h 196626"/>
                <a:gd name="connsiteX22" fmla="*/ 30672 w 43451"/>
                <a:gd name="connsiteY22" fmla="*/ 47242 h 196626"/>
                <a:gd name="connsiteX23" fmla="*/ 30672 w 43451"/>
                <a:gd name="connsiteY23" fmla="*/ 72778 h 196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3451" h="196626">
                  <a:moveTo>
                    <a:pt x="37062" y="34474"/>
                  </a:moveTo>
                  <a:lnTo>
                    <a:pt x="28116" y="34474"/>
                  </a:lnTo>
                  <a:lnTo>
                    <a:pt x="28116" y="6384"/>
                  </a:lnTo>
                  <a:cubicBezTo>
                    <a:pt x="28116" y="2554"/>
                    <a:pt x="25560" y="0"/>
                    <a:pt x="21726" y="0"/>
                  </a:cubicBezTo>
                  <a:cubicBezTo>
                    <a:pt x="17892" y="0"/>
                    <a:pt x="15336" y="2554"/>
                    <a:pt x="15336" y="6384"/>
                  </a:cubicBezTo>
                  <a:lnTo>
                    <a:pt x="15336" y="34474"/>
                  </a:lnTo>
                  <a:lnTo>
                    <a:pt x="6390" y="34474"/>
                  </a:lnTo>
                  <a:cubicBezTo>
                    <a:pt x="2556" y="34474"/>
                    <a:pt x="0" y="37027"/>
                    <a:pt x="0" y="40858"/>
                  </a:cubicBezTo>
                  <a:lnTo>
                    <a:pt x="0" y="79162"/>
                  </a:lnTo>
                  <a:cubicBezTo>
                    <a:pt x="0" y="82992"/>
                    <a:pt x="2556" y="85546"/>
                    <a:pt x="6390" y="85546"/>
                  </a:cubicBezTo>
                  <a:lnTo>
                    <a:pt x="15336" y="85546"/>
                  </a:lnTo>
                  <a:lnTo>
                    <a:pt x="15336" y="190243"/>
                  </a:lnTo>
                  <a:cubicBezTo>
                    <a:pt x="15336" y="194073"/>
                    <a:pt x="17892" y="196627"/>
                    <a:pt x="21726" y="196627"/>
                  </a:cubicBezTo>
                  <a:cubicBezTo>
                    <a:pt x="25560" y="196627"/>
                    <a:pt x="28116" y="194073"/>
                    <a:pt x="28116" y="190243"/>
                  </a:cubicBezTo>
                  <a:lnTo>
                    <a:pt x="28116" y="85546"/>
                  </a:lnTo>
                  <a:lnTo>
                    <a:pt x="37062" y="85546"/>
                  </a:lnTo>
                  <a:cubicBezTo>
                    <a:pt x="40896" y="85546"/>
                    <a:pt x="43451" y="82992"/>
                    <a:pt x="43451" y="79162"/>
                  </a:cubicBezTo>
                  <a:lnTo>
                    <a:pt x="43451" y="40858"/>
                  </a:lnTo>
                  <a:cubicBezTo>
                    <a:pt x="43451" y="37666"/>
                    <a:pt x="40257" y="34474"/>
                    <a:pt x="37062" y="34474"/>
                  </a:cubicBezTo>
                  <a:close/>
                  <a:moveTo>
                    <a:pt x="30672" y="72778"/>
                  </a:moveTo>
                  <a:lnTo>
                    <a:pt x="12780" y="72778"/>
                  </a:lnTo>
                  <a:lnTo>
                    <a:pt x="12780" y="47242"/>
                  </a:lnTo>
                  <a:lnTo>
                    <a:pt x="30672" y="47242"/>
                  </a:lnTo>
                  <a:lnTo>
                    <a:pt x="30672" y="7277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Graphic 4">
              <a:extLst>
                <a:ext uri="{FF2B5EF4-FFF2-40B4-BE49-F238E27FC236}">
                  <a16:creationId xmlns:a16="http://schemas.microsoft.com/office/drawing/2014/main" id="{A79FC143-7652-97E9-EA6B-86C33CA43DAD}"/>
                </a:ext>
              </a:extLst>
            </p:cNvPr>
            <p:cNvSpPr/>
            <p:nvPr/>
          </p:nvSpPr>
          <p:spPr>
            <a:xfrm>
              <a:off x="1602596" y="1975366"/>
              <a:ext cx="43451" cy="196626"/>
            </a:xfrm>
            <a:custGeom>
              <a:avLst/>
              <a:gdLst>
                <a:gd name="connsiteX0" fmla="*/ 37062 w 43451"/>
                <a:gd name="connsiteY0" fmla="*/ 72778 h 196626"/>
                <a:gd name="connsiteX1" fmla="*/ 28116 w 43451"/>
                <a:gd name="connsiteY1" fmla="*/ 72778 h 196626"/>
                <a:gd name="connsiteX2" fmla="*/ 28116 w 43451"/>
                <a:gd name="connsiteY2" fmla="*/ 6384 h 196626"/>
                <a:gd name="connsiteX3" fmla="*/ 21726 w 43451"/>
                <a:gd name="connsiteY3" fmla="*/ 0 h 196626"/>
                <a:gd name="connsiteX4" fmla="*/ 15336 w 43451"/>
                <a:gd name="connsiteY4" fmla="*/ 6384 h 196626"/>
                <a:gd name="connsiteX5" fmla="*/ 15336 w 43451"/>
                <a:gd name="connsiteY5" fmla="*/ 72778 h 196626"/>
                <a:gd name="connsiteX6" fmla="*/ 6390 w 43451"/>
                <a:gd name="connsiteY6" fmla="*/ 72778 h 196626"/>
                <a:gd name="connsiteX7" fmla="*/ 0 w 43451"/>
                <a:gd name="connsiteY7" fmla="*/ 79162 h 196626"/>
                <a:gd name="connsiteX8" fmla="*/ 0 w 43451"/>
                <a:gd name="connsiteY8" fmla="*/ 117465 h 196626"/>
                <a:gd name="connsiteX9" fmla="*/ 6390 w 43451"/>
                <a:gd name="connsiteY9" fmla="*/ 123849 h 196626"/>
                <a:gd name="connsiteX10" fmla="*/ 15336 w 43451"/>
                <a:gd name="connsiteY10" fmla="*/ 123849 h 196626"/>
                <a:gd name="connsiteX11" fmla="*/ 15336 w 43451"/>
                <a:gd name="connsiteY11" fmla="*/ 190243 h 196626"/>
                <a:gd name="connsiteX12" fmla="*/ 21726 w 43451"/>
                <a:gd name="connsiteY12" fmla="*/ 196627 h 196626"/>
                <a:gd name="connsiteX13" fmla="*/ 28116 w 43451"/>
                <a:gd name="connsiteY13" fmla="*/ 190243 h 196626"/>
                <a:gd name="connsiteX14" fmla="*/ 28116 w 43451"/>
                <a:gd name="connsiteY14" fmla="*/ 123849 h 196626"/>
                <a:gd name="connsiteX15" fmla="*/ 37062 w 43451"/>
                <a:gd name="connsiteY15" fmla="*/ 123849 h 196626"/>
                <a:gd name="connsiteX16" fmla="*/ 43452 w 43451"/>
                <a:gd name="connsiteY16" fmla="*/ 117465 h 196626"/>
                <a:gd name="connsiteX17" fmla="*/ 43452 w 43451"/>
                <a:gd name="connsiteY17" fmla="*/ 79162 h 196626"/>
                <a:gd name="connsiteX18" fmla="*/ 37062 w 43451"/>
                <a:gd name="connsiteY18" fmla="*/ 72778 h 196626"/>
                <a:gd name="connsiteX19" fmla="*/ 30672 w 43451"/>
                <a:gd name="connsiteY19" fmla="*/ 111081 h 196626"/>
                <a:gd name="connsiteX20" fmla="*/ 12780 w 43451"/>
                <a:gd name="connsiteY20" fmla="*/ 111081 h 196626"/>
                <a:gd name="connsiteX21" fmla="*/ 12780 w 43451"/>
                <a:gd name="connsiteY21" fmla="*/ 85546 h 196626"/>
                <a:gd name="connsiteX22" fmla="*/ 30672 w 43451"/>
                <a:gd name="connsiteY22" fmla="*/ 85546 h 196626"/>
                <a:gd name="connsiteX23" fmla="*/ 30672 w 43451"/>
                <a:gd name="connsiteY23" fmla="*/ 111081 h 196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3451" h="196626">
                  <a:moveTo>
                    <a:pt x="37062" y="72778"/>
                  </a:moveTo>
                  <a:lnTo>
                    <a:pt x="28116" y="72778"/>
                  </a:lnTo>
                  <a:lnTo>
                    <a:pt x="28116" y="6384"/>
                  </a:lnTo>
                  <a:cubicBezTo>
                    <a:pt x="28116" y="2554"/>
                    <a:pt x="25560" y="0"/>
                    <a:pt x="21726" y="0"/>
                  </a:cubicBezTo>
                  <a:cubicBezTo>
                    <a:pt x="17892" y="0"/>
                    <a:pt x="15336" y="2554"/>
                    <a:pt x="15336" y="6384"/>
                  </a:cubicBezTo>
                  <a:lnTo>
                    <a:pt x="15336" y="72778"/>
                  </a:lnTo>
                  <a:lnTo>
                    <a:pt x="6390" y="72778"/>
                  </a:lnTo>
                  <a:cubicBezTo>
                    <a:pt x="2556" y="72778"/>
                    <a:pt x="0" y="75331"/>
                    <a:pt x="0" y="79162"/>
                  </a:cubicBezTo>
                  <a:lnTo>
                    <a:pt x="0" y="117465"/>
                  </a:lnTo>
                  <a:cubicBezTo>
                    <a:pt x="0" y="121296"/>
                    <a:pt x="2556" y="123849"/>
                    <a:pt x="6390" y="123849"/>
                  </a:cubicBezTo>
                  <a:lnTo>
                    <a:pt x="15336" y="123849"/>
                  </a:lnTo>
                  <a:lnTo>
                    <a:pt x="15336" y="190243"/>
                  </a:lnTo>
                  <a:cubicBezTo>
                    <a:pt x="15336" y="194073"/>
                    <a:pt x="17892" y="196627"/>
                    <a:pt x="21726" y="196627"/>
                  </a:cubicBezTo>
                  <a:cubicBezTo>
                    <a:pt x="25560" y="196627"/>
                    <a:pt x="28116" y="194073"/>
                    <a:pt x="28116" y="190243"/>
                  </a:cubicBezTo>
                  <a:lnTo>
                    <a:pt x="28116" y="123849"/>
                  </a:lnTo>
                  <a:lnTo>
                    <a:pt x="37062" y="123849"/>
                  </a:lnTo>
                  <a:cubicBezTo>
                    <a:pt x="40896" y="123849"/>
                    <a:pt x="43452" y="121296"/>
                    <a:pt x="43452" y="117465"/>
                  </a:cubicBezTo>
                  <a:lnTo>
                    <a:pt x="43452" y="79162"/>
                  </a:lnTo>
                  <a:cubicBezTo>
                    <a:pt x="43452" y="75970"/>
                    <a:pt x="40896" y="72778"/>
                    <a:pt x="37062" y="72778"/>
                  </a:cubicBezTo>
                  <a:close/>
                  <a:moveTo>
                    <a:pt x="30672" y="111081"/>
                  </a:moveTo>
                  <a:lnTo>
                    <a:pt x="12780" y="111081"/>
                  </a:lnTo>
                  <a:lnTo>
                    <a:pt x="12780" y="85546"/>
                  </a:lnTo>
                  <a:lnTo>
                    <a:pt x="30672" y="85546"/>
                  </a:lnTo>
                  <a:lnTo>
                    <a:pt x="30672" y="11108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Graphic 4">
              <a:extLst>
                <a:ext uri="{FF2B5EF4-FFF2-40B4-BE49-F238E27FC236}">
                  <a16:creationId xmlns:a16="http://schemas.microsoft.com/office/drawing/2014/main" id="{35215C08-4A19-7C00-EC3C-52615D29F3F9}"/>
                </a:ext>
              </a:extLst>
            </p:cNvPr>
            <p:cNvSpPr/>
            <p:nvPr/>
          </p:nvSpPr>
          <p:spPr>
            <a:xfrm>
              <a:off x="1745730" y="1975366"/>
              <a:ext cx="43451" cy="196626"/>
            </a:xfrm>
            <a:custGeom>
              <a:avLst/>
              <a:gdLst>
                <a:gd name="connsiteX0" fmla="*/ 37062 w 43451"/>
                <a:gd name="connsiteY0" fmla="*/ 111081 h 196626"/>
                <a:gd name="connsiteX1" fmla="*/ 28116 w 43451"/>
                <a:gd name="connsiteY1" fmla="*/ 111081 h 196626"/>
                <a:gd name="connsiteX2" fmla="*/ 28116 w 43451"/>
                <a:gd name="connsiteY2" fmla="*/ 6384 h 196626"/>
                <a:gd name="connsiteX3" fmla="*/ 21726 w 43451"/>
                <a:gd name="connsiteY3" fmla="*/ 0 h 196626"/>
                <a:gd name="connsiteX4" fmla="*/ 15336 w 43451"/>
                <a:gd name="connsiteY4" fmla="*/ 6384 h 196626"/>
                <a:gd name="connsiteX5" fmla="*/ 15336 w 43451"/>
                <a:gd name="connsiteY5" fmla="*/ 111081 h 196626"/>
                <a:gd name="connsiteX6" fmla="*/ 6390 w 43451"/>
                <a:gd name="connsiteY6" fmla="*/ 111081 h 196626"/>
                <a:gd name="connsiteX7" fmla="*/ 0 w 43451"/>
                <a:gd name="connsiteY7" fmla="*/ 117465 h 196626"/>
                <a:gd name="connsiteX8" fmla="*/ 0 w 43451"/>
                <a:gd name="connsiteY8" fmla="*/ 155769 h 196626"/>
                <a:gd name="connsiteX9" fmla="*/ 6390 w 43451"/>
                <a:gd name="connsiteY9" fmla="*/ 162153 h 196626"/>
                <a:gd name="connsiteX10" fmla="*/ 15336 w 43451"/>
                <a:gd name="connsiteY10" fmla="*/ 162153 h 196626"/>
                <a:gd name="connsiteX11" fmla="*/ 15336 w 43451"/>
                <a:gd name="connsiteY11" fmla="*/ 190243 h 196626"/>
                <a:gd name="connsiteX12" fmla="*/ 21726 w 43451"/>
                <a:gd name="connsiteY12" fmla="*/ 196627 h 196626"/>
                <a:gd name="connsiteX13" fmla="*/ 28116 w 43451"/>
                <a:gd name="connsiteY13" fmla="*/ 190243 h 196626"/>
                <a:gd name="connsiteX14" fmla="*/ 28116 w 43451"/>
                <a:gd name="connsiteY14" fmla="*/ 162153 h 196626"/>
                <a:gd name="connsiteX15" fmla="*/ 37062 w 43451"/>
                <a:gd name="connsiteY15" fmla="*/ 162153 h 196626"/>
                <a:gd name="connsiteX16" fmla="*/ 43451 w 43451"/>
                <a:gd name="connsiteY16" fmla="*/ 155769 h 196626"/>
                <a:gd name="connsiteX17" fmla="*/ 43451 w 43451"/>
                <a:gd name="connsiteY17" fmla="*/ 117465 h 196626"/>
                <a:gd name="connsiteX18" fmla="*/ 37062 w 43451"/>
                <a:gd name="connsiteY18" fmla="*/ 111081 h 196626"/>
                <a:gd name="connsiteX19" fmla="*/ 30672 w 43451"/>
                <a:gd name="connsiteY19" fmla="*/ 149385 h 196626"/>
                <a:gd name="connsiteX20" fmla="*/ 12780 w 43451"/>
                <a:gd name="connsiteY20" fmla="*/ 149385 h 196626"/>
                <a:gd name="connsiteX21" fmla="*/ 12780 w 43451"/>
                <a:gd name="connsiteY21" fmla="*/ 123849 h 196626"/>
                <a:gd name="connsiteX22" fmla="*/ 30672 w 43451"/>
                <a:gd name="connsiteY22" fmla="*/ 123849 h 196626"/>
                <a:gd name="connsiteX23" fmla="*/ 30672 w 43451"/>
                <a:gd name="connsiteY23" fmla="*/ 149385 h 196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3451" h="196626">
                  <a:moveTo>
                    <a:pt x="37062" y="111081"/>
                  </a:moveTo>
                  <a:lnTo>
                    <a:pt x="28116" y="111081"/>
                  </a:lnTo>
                  <a:lnTo>
                    <a:pt x="28116" y="6384"/>
                  </a:lnTo>
                  <a:cubicBezTo>
                    <a:pt x="28116" y="2554"/>
                    <a:pt x="25560" y="0"/>
                    <a:pt x="21726" y="0"/>
                  </a:cubicBezTo>
                  <a:cubicBezTo>
                    <a:pt x="17892" y="0"/>
                    <a:pt x="15336" y="2554"/>
                    <a:pt x="15336" y="6384"/>
                  </a:cubicBezTo>
                  <a:lnTo>
                    <a:pt x="15336" y="111081"/>
                  </a:lnTo>
                  <a:lnTo>
                    <a:pt x="6390" y="111081"/>
                  </a:lnTo>
                  <a:cubicBezTo>
                    <a:pt x="2556" y="111081"/>
                    <a:pt x="0" y="113635"/>
                    <a:pt x="0" y="117465"/>
                  </a:cubicBezTo>
                  <a:lnTo>
                    <a:pt x="0" y="155769"/>
                  </a:lnTo>
                  <a:cubicBezTo>
                    <a:pt x="0" y="159600"/>
                    <a:pt x="2556" y="162153"/>
                    <a:pt x="6390" y="162153"/>
                  </a:cubicBezTo>
                  <a:lnTo>
                    <a:pt x="15336" y="162153"/>
                  </a:lnTo>
                  <a:lnTo>
                    <a:pt x="15336" y="190243"/>
                  </a:lnTo>
                  <a:cubicBezTo>
                    <a:pt x="15336" y="194073"/>
                    <a:pt x="17892" y="196627"/>
                    <a:pt x="21726" y="196627"/>
                  </a:cubicBezTo>
                  <a:cubicBezTo>
                    <a:pt x="25560" y="196627"/>
                    <a:pt x="28116" y="194073"/>
                    <a:pt x="28116" y="190243"/>
                  </a:cubicBezTo>
                  <a:lnTo>
                    <a:pt x="28116" y="162153"/>
                  </a:lnTo>
                  <a:lnTo>
                    <a:pt x="37062" y="162153"/>
                  </a:lnTo>
                  <a:cubicBezTo>
                    <a:pt x="40896" y="162153"/>
                    <a:pt x="43451" y="159600"/>
                    <a:pt x="43451" y="155769"/>
                  </a:cubicBezTo>
                  <a:lnTo>
                    <a:pt x="43451" y="117465"/>
                  </a:lnTo>
                  <a:cubicBezTo>
                    <a:pt x="43451" y="114273"/>
                    <a:pt x="40257" y="111081"/>
                    <a:pt x="37062" y="111081"/>
                  </a:cubicBezTo>
                  <a:close/>
                  <a:moveTo>
                    <a:pt x="30672" y="149385"/>
                  </a:moveTo>
                  <a:lnTo>
                    <a:pt x="12780" y="149385"/>
                  </a:lnTo>
                  <a:lnTo>
                    <a:pt x="12780" y="123849"/>
                  </a:lnTo>
                  <a:lnTo>
                    <a:pt x="30672" y="123849"/>
                  </a:lnTo>
                  <a:lnTo>
                    <a:pt x="30672" y="14938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615D5D4-5009-4C05-003D-D3068B928D65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b="0" noProof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b="0" noProof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A49EB00-6471-E763-DFB4-0F2641ED6BEB}"/>
              </a:ext>
            </a:extLst>
          </p:cNvPr>
          <p:cNvSpPr txBox="1"/>
          <p:nvPr userDrawn="1"/>
        </p:nvSpPr>
        <p:spPr>
          <a:xfrm>
            <a:off x="6485817" y="6477001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LASSIFICATION: CONFIDENTIAL – FOR INTERNAL USE ONLY</a:t>
            </a:r>
            <a:endParaRPr lang="en-US" sz="800" b="0" noProof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603898-3CEE-99D3-70C9-5F1C010C5ED2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0" algn="r">
              <a:spcBef>
                <a:spcPts val="0"/>
              </a:spcBef>
              <a:buSzPct val="100000"/>
              <a:buFont typeface="Arial"/>
              <a:buNone/>
              <a:defRPr sz="900" b="0" i="0" u="none" strike="noStrik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/>
            <a:r>
              <a:rPr lang="en-US" sz="800" b="0">
                <a:solidFill>
                  <a:schemeClr val="bg1"/>
                </a:solidFill>
              </a:rPr>
              <a:t>Copyright © 2025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01007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1 accessible teal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E3AAB74-C532-6088-E2C6-8B85A3F85463}"/>
              </a:ext>
            </a:extLst>
          </p:cNvPr>
          <p:cNvSpPr/>
          <p:nvPr userDrawn="1"/>
        </p:nvSpPr>
        <p:spPr bwMode="gray">
          <a:xfrm>
            <a:off x="10129608" y="471593"/>
            <a:ext cx="1475017" cy="35782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0" bIns="88900" rtlCol="0" anchor="ctr"/>
          <a:lstStyle/>
          <a:p>
            <a:pPr>
              <a:buFont typeface="Wingdings 2" pitchFamily="18" charset="2"/>
              <a:buNone/>
            </a:pPr>
            <a:r>
              <a:rPr lang="en-US" sz="1000" b="1">
                <a:solidFill>
                  <a:schemeClr val="bg1"/>
                </a:solidFill>
              </a:rPr>
              <a:t>CULTIVATE TECH TALENT &amp; HELP PEOPLE THRIV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C0454754-E861-4BD7-BCAA-77218CFA9968}"/>
              </a:ext>
            </a:extLst>
          </p:cNvPr>
          <p:cNvSpPr/>
          <p:nvPr/>
        </p:nvSpPr>
        <p:spPr bwMode="gray">
          <a:xfrm rot="2700000">
            <a:off x="9478687" y="382236"/>
            <a:ext cx="536532" cy="536532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grpSp>
        <p:nvGrpSpPr>
          <p:cNvPr id="48" name="Graphic 4">
            <a:extLst>
              <a:ext uri="{FF2B5EF4-FFF2-40B4-BE49-F238E27FC236}">
                <a16:creationId xmlns:a16="http://schemas.microsoft.com/office/drawing/2014/main" id="{463118E7-6B52-179F-2DAB-DB0A7A4793A6}"/>
              </a:ext>
            </a:extLst>
          </p:cNvPr>
          <p:cNvGrpSpPr/>
          <p:nvPr/>
        </p:nvGrpSpPr>
        <p:grpSpPr>
          <a:xfrm>
            <a:off x="9573216" y="476768"/>
            <a:ext cx="347472" cy="347472"/>
            <a:chOff x="3607757" y="3824170"/>
            <a:chExt cx="361674" cy="361333"/>
          </a:xfrm>
          <a:solidFill>
            <a:schemeClr val="bg1"/>
          </a:solidFill>
        </p:grpSpPr>
        <p:sp>
          <p:nvSpPr>
            <p:cNvPr id="49" name="Graphic 4">
              <a:extLst>
                <a:ext uri="{FF2B5EF4-FFF2-40B4-BE49-F238E27FC236}">
                  <a16:creationId xmlns:a16="http://schemas.microsoft.com/office/drawing/2014/main" id="{79443079-9299-4096-6193-48561FAAD1F3}"/>
                </a:ext>
              </a:extLst>
            </p:cNvPr>
            <p:cNvSpPr/>
            <p:nvPr/>
          </p:nvSpPr>
          <p:spPr>
            <a:xfrm>
              <a:off x="3607757" y="3824170"/>
              <a:ext cx="361674" cy="361333"/>
            </a:xfrm>
            <a:custGeom>
              <a:avLst/>
              <a:gdLst>
                <a:gd name="connsiteX0" fmla="*/ 180836 w 361674"/>
                <a:gd name="connsiteY0" fmla="*/ 0 h 361333"/>
                <a:gd name="connsiteX1" fmla="*/ 0 w 361674"/>
                <a:gd name="connsiteY1" fmla="*/ 180667 h 361333"/>
                <a:gd name="connsiteX2" fmla="*/ 180836 w 361674"/>
                <a:gd name="connsiteY2" fmla="*/ 361333 h 361333"/>
                <a:gd name="connsiteX3" fmla="*/ 361671 w 361674"/>
                <a:gd name="connsiteY3" fmla="*/ 180667 h 361333"/>
                <a:gd name="connsiteX4" fmla="*/ 180836 w 361674"/>
                <a:gd name="connsiteY4" fmla="*/ 0 h 361333"/>
                <a:gd name="connsiteX5" fmla="*/ 180836 w 361674"/>
                <a:gd name="connsiteY5" fmla="*/ 349204 h 361333"/>
                <a:gd name="connsiteX6" fmla="*/ 12780 w 361674"/>
                <a:gd name="connsiteY6" fmla="*/ 181305 h 361333"/>
                <a:gd name="connsiteX7" fmla="*/ 180836 w 361674"/>
                <a:gd name="connsiteY7" fmla="*/ 13406 h 361333"/>
                <a:gd name="connsiteX8" fmla="*/ 348891 w 361674"/>
                <a:gd name="connsiteY8" fmla="*/ 181305 h 361333"/>
                <a:gd name="connsiteX9" fmla="*/ 180836 w 361674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4" h="361333">
                  <a:moveTo>
                    <a:pt x="180836" y="0"/>
                  </a:moveTo>
                  <a:cubicBezTo>
                    <a:pt x="80513" y="0"/>
                    <a:pt x="0" y="81076"/>
                    <a:pt x="0" y="180667"/>
                  </a:cubicBezTo>
                  <a:cubicBezTo>
                    <a:pt x="0" y="280895"/>
                    <a:pt x="81152" y="361333"/>
                    <a:pt x="180836" y="361333"/>
                  </a:cubicBezTo>
                  <a:cubicBezTo>
                    <a:pt x="280518" y="361333"/>
                    <a:pt x="361671" y="280257"/>
                    <a:pt x="361671" y="180667"/>
                  </a:cubicBezTo>
                  <a:cubicBezTo>
                    <a:pt x="362310" y="81076"/>
                    <a:pt x="281157" y="0"/>
                    <a:pt x="180836" y="0"/>
                  </a:cubicBezTo>
                  <a:close/>
                  <a:moveTo>
                    <a:pt x="180836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3406"/>
                    <a:pt x="180836" y="13406"/>
                  </a:cubicBezTo>
                  <a:cubicBezTo>
                    <a:pt x="273490" y="13406"/>
                    <a:pt x="348891" y="88737"/>
                    <a:pt x="348891" y="181305"/>
                  </a:cubicBezTo>
                  <a:cubicBezTo>
                    <a:pt x="348891" y="273873"/>
                    <a:pt x="274128" y="349204"/>
                    <a:pt x="180836" y="34920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Graphic 4">
              <a:extLst>
                <a:ext uri="{FF2B5EF4-FFF2-40B4-BE49-F238E27FC236}">
                  <a16:creationId xmlns:a16="http://schemas.microsoft.com/office/drawing/2014/main" id="{F951244D-EDCF-AF08-C031-751E72419F51}"/>
                </a:ext>
              </a:extLst>
            </p:cNvPr>
            <p:cNvSpPr/>
            <p:nvPr/>
          </p:nvSpPr>
          <p:spPr>
            <a:xfrm>
              <a:off x="3759199" y="3867284"/>
              <a:ext cx="56969" cy="62219"/>
            </a:xfrm>
            <a:custGeom>
              <a:avLst/>
              <a:gdLst>
                <a:gd name="connsiteX0" fmla="*/ 5751 w 56969"/>
                <a:gd name="connsiteY0" fmla="*/ 61581 h 62219"/>
                <a:gd name="connsiteX1" fmla="*/ 12780 w 56969"/>
                <a:gd name="connsiteY1" fmla="*/ 56474 h 62219"/>
                <a:gd name="connsiteX2" fmla="*/ 26838 w 56969"/>
                <a:gd name="connsiteY2" fmla="*/ 50728 h 62219"/>
                <a:gd name="connsiteX3" fmla="*/ 44091 w 56969"/>
                <a:gd name="connsiteY3" fmla="*/ 57112 h 62219"/>
                <a:gd name="connsiteX4" fmla="*/ 50481 w 56969"/>
                <a:gd name="connsiteY4" fmla="*/ 62219 h 62219"/>
                <a:gd name="connsiteX5" fmla="*/ 51759 w 56969"/>
                <a:gd name="connsiteY5" fmla="*/ 62219 h 62219"/>
                <a:gd name="connsiteX6" fmla="*/ 56871 w 56969"/>
                <a:gd name="connsiteY6" fmla="*/ 54559 h 62219"/>
                <a:gd name="connsiteX7" fmla="*/ 33867 w 56969"/>
                <a:gd name="connsiteY7" fmla="*/ 38599 h 62219"/>
                <a:gd name="connsiteX8" fmla="*/ 40896 w 56969"/>
                <a:gd name="connsiteY8" fmla="*/ 35407 h 62219"/>
                <a:gd name="connsiteX9" fmla="*/ 48564 w 56969"/>
                <a:gd name="connsiteY9" fmla="*/ 22639 h 62219"/>
                <a:gd name="connsiteX10" fmla="*/ 32589 w 56969"/>
                <a:gd name="connsiteY10" fmla="*/ 295 h 62219"/>
                <a:gd name="connsiteX11" fmla="*/ 10224 w 56969"/>
                <a:gd name="connsiteY11" fmla="*/ 16255 h 62219"/>
                <a:gd name="connsiteX12" fmla="*/ 24282 w 56969"/>
                <a:gd name="connsiteY12" fmla="*/ 37960 h 62219"/>
                <a:gd name="connsiteX13" fmla="*/ 0 w 56969"/>
                <a:gd name="connsiteY13" fmla="*/ 54559 h 62219"/>
                <a:gd name="connsiteX14" fmla="*/ 5751 w 56969"/>
                <a:gd name="connsiteY14" fmla="*/ 61581 h 62219"/>
                <a:gd name="connsiteX15" fmla="*/ 23004 w 56969"/>
                <a:gd name="connsiteY15" fmla="*/ 18170 h 62219"/>
                <a:gd name="connsiteX16" fmla="*/ 29394 w 56969"/>
                <a:gd name="connsiteY16" fmla="*/ 12424 h 62219"/>
                <a:gd name="connsiteX17" fmla="*/ 30672 w 56969"/>
                <a:gd name="connsiteY17" fmla="*/ 12424 h 62219"/>
                <a:gd name="connsiteX18" fmla="*/ 36423 w 56969"/>
                <a:gd name="connsiteY18" fmla="*/ 20085 h 62219"/>
                <a:gd name="connsiteX19" fmla="*/ 33867 w 56969"/>
                <a:gd name="connsiteY19" fmla="*/ 24554 h 62219"/>
                <a:gd name="connsiteX20" fmla="*/ 28755 w 56969"/>
                <a:gd name="connsiteY20" fmla="*/ 25831 h 62219"/>
                <a:gd name="connsiteX21" fmla="*/ 23004 w 56969"/>
                <a:gd name="connsiteY21" fmla="*/ 18170 h 62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6969" h="62219">
                  <a:moveTo>
                    <a:pt x="5751" y="61581"/>
                  </a:moveTo>
                  <a:cubicBezTo>
                    <a:pt x="8946" y="62219"/>
                    <a:pt x="12780" y="59666"/>
                    <a:pt x="12780" y="56474"/>
                  </a:cubicBezTo>
                  <a:cubicBezTo>
                    <a:pt x="13419" y="53920"/>
                    <a:pt x="19170" y="50728"/>
                    <a:pt x="26838" y="50728"/>
                  </a:cubicBezTo>
                  <a:cubicBezTo>
                    <a:pt x="35784" y="50090"/>
                    <a:pt x="43451" y="53282"/>
                    <a:pt x="44091" y="57112"/>
                  </a:cubicBezTo>
                  <a:cubicBezTo>
                    <a:pt x="44730" y="60304"/>
                    <a:pt x="47286" y="62219"/>
                    <a:pt x="50481" y="62219"/>
                  </a:cubicBezTo>
                  <a:cubicBezTo>
                    <a:pt x="51119" y="62219"/>
                    <a:pt x="51119" y="62219"/>
                    <a:pt x="51759" y="62219"/>
                  </a:cubicBezTo>
                  <a:cubicBezTo>
                    <a:pt x="54954" y="61581"/>
                    <a:pt x="57509" y="57751"/>
                    <a:pt x="56871" y="54559"/>
                  </a:cubicBezTo>
                  <a:cubicBezTo>
                    <a:pt x="54954" y="44983"/>
                    <a:pt x="44730" y="39875"/>
                    <a:pt x="33867" y="38599"/>
                  </a:cubicBezTo>
                  <a:cubicBezTo>
                    <a:pt x="36423" y="37960"/>
                    <a:pt x="38340" y="37322"/>
                    <a:pt x="40896" y="35407"/>
                  </a:cubicBezTo>
                  <a:cubicBezTo>
                    <a:pt x="45369" y="32215"/>
                    <a:pt x="47925" y="27746"/>
                    <a:pt x="48564" y="22639"/>
                  </a:cubicBezTo>
                  <a:cubicBezTo>
                    <a:pt x="50481" y="11786"/>
                    <a:pt x="42813" y="2210"/>
                    <a:pt x="32589" y="295"/>
                  </a:cubicBezTo>
                  <a:cubicBezTo>
                    <a:pt x="21726" y="-1620"/>
                    <a:pt x="12141" y="6040"/>
                    <a:pt x="10224" y="16255"/>
                  </a:cubicBezTo>
                  <a:cubicBezTo>
                    <a:pt x="8307" y="25831"/>
                    <a:pt x="14697" y="35407"/>
                    <a:pt x="24282" y="37960"/>
                  </a:cubicBezTo>
                  <a:cubicBezTo>
                    <a:pt x="10863" y="39237"/>
                    <a:pt x="1278" y="45621"/>
                    <a:pt x="0" y="54559"/>
                  </a:cubicBezTo>
                  <a:cubicBezTo>
                    <a:pt x="0" y="57751"/>
                    <a:pt x="2556" y="61581"/>
                    <a:pt x="5751" y="61581"/>
                  </a:cubicBezTo>
                  <a:close/>
                  <a:moveTo>
                    <a:pt x="23004" y="18170"/>
                  </a:moveTo>
                  <a:cubicBezTo>
                    <a:pt x="23643" y="14978"/>
                    <a:pt x="26199" y="12424"/>
                    <a:pt x="29394" y="12424"/>
                  </a:cubicBezTo>
                  <a:cubicBezTo>
                    <a:pt x="30033" y="12424"/>
                    <a:pt x="30033" y="12424"/>
                    <a:pt x="30672" y="12424"/>
                  </a:cubicBezTo>
                  <a:cubicBezTo>
                    <a:pt x="34506" y="13063"/>
                    <a:pt x="37062" y="16255"/>
                    <a:pt x="36423" y="20085"/>
                  </a:cubicBezTo>
                  <a:cubicBezTo>
                    <a:pt x="36423" y="22000"/>
                    <a:pt x="35145" y="23277"/>
                    <a:pt x="33867" y="24554"/>
                  </a:cubicBezTo>
                  <a:cubicBezTo>
                    <a:pt x="32589" y="25831"/>
                    <a:pt x="30672" y="25831"/>
                    <a:pt x="28755" y="25831"/>
                  </a:cubicBezTo>
                  <a:cubicBezTo>
                    <a:pt x="24921" y="25192"/>
                    <a:pt x="23004" y="22000"/>
                    <a:pt x="23004" y="1817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Graphic 4">
              <a:extLst>
                <a:ext uri="{FF2B5EF4-FFF2-40B4-BE49-F238E27FC236}">
                  <a16:creationId xmlns:a16="http://schemas.microsoft.com/office/drawing/2014/main" id="{0DD5A2CE-99B0-2C9C-8947-B21ADA8DCD66}"/>
                </a:ext>
              </a:extLst>
            </p:cNvPr>
            <p:cNvSpPr/>
            <p:nvPr/>
          </p:nvSpPr>
          <p:spPr>
            <a:xfrm>
              <a:off x="3760379" y="4081321"/>
              <a:ext cx="56428" cy="62683"/>
            </a:xfrm>
            <a:custGeom>
              <a:avLst/>
              <a:gdLst>
                <a:gd name="connsiteX0" fmla="*/ 51218 w 56428"/>
                <a:gd name="connsiteY0" fmla="*/ 121 h 62683"/>
                <a:gd name="connsiteX1" fmla="*/ 43550 w 56428"/>
                <a:gd name="connsiteY1" fmla="*/ 5228 h 62683"/>
                <a:gd name="connsiteX2" fmla="*/ 26297 w 56428"/>
                <a:gd name="connsiteY2" fmla="*/ 11612 h 62683"/>
                <a:gd name="connsiteX3" fmla="*/ 12240 w 56428"/>
                <a:gd name="connsiteY3" fmla="*/ 5866 h 62683"/>
                <a:gd name="connsiteX4" fmla="*/ 5210 w 56428"/>
                <a:gd name="connsiteY4" fmla="*/ 759 h 62683"/>
                <a:gd name="connsiteX5" fmla="*/ 99 w 56428"/>
                <a:gd name="connsiteY5" fmla="*/ 7782 h 62683"/>
                <a:gd name="connsiteX6" fmla="*/ 24380 w 56428"/>
                <a:gd name="connsiteY6" fmla="*/ 24380 h 62683"/>
                <a:gd name="connsiteX7" fmla="*/ 10322 w 56428"/>
                <a:gd name="connsiteY7" fmla="*/ 46086 h 62683"/>
                <a:gd name="connsiteX8" fmla="*/ 29492 w 56428"/>
                <a:gd name="connsiteY8" fmla="*/ 62684 h 62683"/>
                <a:gd name="connsiteX9" fmla="*/ 32687 w 56428"/>
                <a:gd name="connsiteY9" fmla="*/ 62684 h 62683"/>
                <a:gd name="connsiteX10" fmla="*/ 48662 w 56428"/>
                <a:gd name="connsiteY10" fmla="*/ 40340 h 62683"/>
                <a:gd name="connsiteX11" fmla="*/ 33965 w 56428"/>
                <a:gd name="connsiteY11" fmla="*/ 24380 h 62683"/>
                <a:gd name="connsiteX12" fmla="*/ 56330 w 56428"/>
                <a:gd name="connsiteY12" fmla="*/ 8420 h 62683"/>
                <a:gd name="connsiteX13" fmla="*/ 51218 w 56428"/>
                <a:gd name="connsiteY13" fmla="*/ 121 h 62683"/>
                <a:gd name="connsiteX14" fmla="*/ 29492 w 56428"/>
                <a:gd name="connsiteY14" fmla="*/ 49278 h 62683"/>
                <a:gd name="connsiteX15" fmla="*/ 21824 w 56428"/>
                <a:gd name="connsiteY15" fmla="*/ 43532 h 62683"/>
                <a:gd name="connsiteX16" fmla="*/ 27575 w 56428"/>
                <a:gd name="connsiteY16" fmla="*/ 35871 h 62683"/>
                <a:gd name="connsiteX17" fmla="*/ 35243 w 56428"/>
                <a:gd name="connsiteY17" fmla="*/ 41617 h 62683"/>
                <a:gd name="connsiteX18" fmla="*/ 29492 w 56428"/>
                <a:gd name="connsiteY18" fmla="*/ 49278 h 62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428" h="62683">
                  <a:moveTo>
                    <a:pt x="51218" y="121"/>
                  </a:moveTo>
                  <a:cubicBezTo>
                    <a:pt x="48023" y="-518"/>
                    <a:pt x="44189" y="1398"/>
                    <a:pt x="43550" y="5228"/>
                  </a:cubicBezTo>
                  <a:cubicBezTo>
                    <a:pt x="42911" y="9058"/>
                    <a:pt x="34604" y="12250"/>
                    <a:pt x="26297" y="11612"/>
                  </a:cubicBezTo>
                  <a:cubicBezTo>
                    <a:pt x="17990" y="11612"/>
                    <a:pt x="12240" y="8420"/>
                    <a:pt x="12240" y="5866"/>
                  </a:cubicBezTo>
                  <a:cubicBezTo>
                    <a:pt x="11600" y="2674"/>
                    <a:pt x="8405" y="121"/>
                    <a:pt x="5210" y="759"/>
                  </a:cubicBezTo>
                  <a:cubicBezTo>
                    <a:pt x="2015" y="1398"/>
                    <a:pt x="-540" y="4590"/>
                    <a:pt x="99" y="7782"/>
                  </a:cubicBezTo>
                  <a:cubicBezTo>
                    <a:pt x="1377" y="16719"/>
                    <a:pt x="10962" y="23103"/>
                    <a:pt x="24380" y="24380"/>
                  </a:cubicBezTo>
                  <a:cubicBezTo>
                    <a:pt x="14795" y="26934"/>
                    <a:pt x="8405" y="36510"/>
                    <a:pt x="10322" y="46086"/>
                  </a:cubicBezTo>
                  <a:cubicBezTo>
                    <a:pt x="11600" y="55662"/>
                    <a:pt x="19907" y="62684"/>
                    <a:pt x="29492" y="62684"/>
                  </a:cubicBezTo>
                  <a:cubicBezTo>
                    <a:pt x="30770" y="62684"/>
                    <a:pt x="31409" y="62684"/>
                    <a:pt x="32687" y="62684"/>
                  </a:cubicBezTo>
                  <a:cubicBezTo>
                    <a:pt x="43550" y="60769"/>
                    <a:pt x="50579" y="51193"/>
                    <a:pt x="48662" y="40340"/>
                  </a:cubicBezTo>
                  <a:cubicBezTo>
                    <a:pt x="47384" y="32679"/>
                    <a:pt x="41633" y="26295"/>
                    <a:pt x="33965" y="24380"/>
                  </a:cubicBezTo>
                  <a:cubicBezTo>
                    <a:pt x="44828" y="23103"/>
                    <a:pt x="54413" y="17996"/>
                    <a:pt x="56330" y="8420"/>
                  </a:cubicBezTo>
                  <a:cubicBezTo>
                    <a:pt x="56969" y="3951"/>
                    <a:pt x="54413" y="759"/>
                    <a:pt x="51218" y="121"/>
                  </a:cubicBezTo>
                  <a:close/>
                  <a:moveTo>
                    <a:pt x="29492" y="49278"/>
                  </a:moveTo>
                  <a:cubicBezTo>
                    <a:pt x="25658" y="49916"/>
                    <a:pt x="22463" y="47362"/>
                    <a:pt x="21824" y="43532"/>
                  </a:cubicBezTo>
                  <a:cubicBezTo>
                    <a:pt x="21185" y="39702"/>
                    <a:pt x="23741" y="36510"/>
                    <a:pt x="27575" y="35871"/>
                  </a:cubicBezTo>
                  <a:cubicBezTo>
                    <a:pt x="31409" y="35233"/>
                    <a:pt x="34604" y="37786"/>
                    <a:pt x="35243" y="41617"/>
                  </a:cubicBezTo>
                  <a:cubicBezTo>
                    <a:pt x="35882" y="44809"/>
                    <a:pt x="33326" y="48639"/>
                    <a:pt x="29492" y="4927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Graphic 4">
              <a:extLst>
                <a:ext uri="{FF2B5EF4-FFF2-40B4-BE49-F238E27FC236}">
                  <a16:creationId xmlns:a16="http://schemas.microsoft.com/office/drawing/2014/main" id="{5D616EF8-5867-F70D-A3DF-053D31A3DDE8}"/>
                </a:ext>
              </a:extLst>
            </p:cNvPr>
            <p:cNvSpPr/>
            <p:nvPr/>
          </p:nvSpPr>
          <p:spPr>
            <a:xfrm>
              <a:off x="3864512" y="3977262"/>
              <a:ext cx="62418" cy="56938"/>
            </a:xfrm>
            <a:custGeom>
              <a:avLst/>
              <a:gdLst>
                <a:gd name="connsiteX0" fmla="*/ 62104 w 62418"/>
                <a:gd name="connsiteY0" fmla="*/ 24380 h 56938"/>
                <a:gd name="connsiteX1" fmla="*/ 54436 w 62418"/>
                <a:gd name="connsiteY1" fmla="*/ 11612 h 56938"/>
                <a:gd name="connsiteX2" fmla="*/ 39739 w 62418"/>
                <a:gd name="connsiteY2" fmla="*/ 8420 h 56938"/>
                <a:gd name="connsiteX3" fmla="*/ 23764 w 62418"/>
                <a:gd name="connsiteY3" fmla="*/ 23103 h 56938"/>
                <a:gd name="connsiteX4" fmla="*/ 7789 w 62418"/>
                <a:gd name="connsiteY4" fmla="*/ 121 h 56938"/>
                <a:gd name="connsiteX5" fmla="*/ 121 w 62418"/>
                <a:gd name="connsiteY5" fmla="*/ 5228 h 56938"/>
                <a:gd name="connsiteX6" fmla="*/ 5233 w 62418"/>
                <a:gd name="connsiteY6" fmla="*/ 12889 h 56938"/>
                <a:gd name="connsiteX7" fmla="*/ 11623 w 62418"/>
                <a:gd name="connsiteY7" fmla="*/ 30125 h 56938"/>
                <a:gd name="connsiteX8" fmla="*/ 5872 w 62418"/>
                <a:gd name="connsiteY8" fmla="*/ 44170 h 56938"/>
                <a:gd name="connsiteX9" fmla="*/ 760 w 62418"/>
                <a:gd name="connsiteY9" fmla="*/ 51193 h 56938"/>
                <a:gd name="connsiteX10" fmla="*/ 7150 w 62418"/>
                <a:gd name="connsiteY10" fmla="*/ 56938 h 56938"/>
                <a:gd name="connsiteX11" fmla="*/ 7789 w 62418"/>
                <a:gd name="connsiteY11" fmla="*/ 56938 h 56938"/>
                <a:gd name="connsiteX12" fmla="*/ 24403 w 62418"/>
                <a:gd name="connsiteY12" fmla="*/ 32679 h 56938"/>
                <a:gd name="connsiteX13" fmla="*/ 42934 w 62418"/>
                <a:gd name="connsiteY13" fmla="*/ 46724 h 56938"/>
                <a:gd name="connsiteX14" fmla="*/ 46129 w 62418"/>
                <a:gd name="connsiteY14" fmla="*/ 46724 h 56938"/>
                <a:gd name="connsiteX15" fmla="*/ 62104 w 62418"/>
                <a:gd name="connsiteY15" fmla="*/ 24380 h 56938"/>
                <a:gd name="connsiteX16" fmla="*/ 44212 w 62418"/>
                <a:gd name="connsiteY16" fmla="*/ 33956 h 56938"/>
                <a:gd name="connsiteX17" fmla="*/ 36544 w 62418"/>
                <a:gd name="connsiteY17" fmla="*/ 28210 h 56938"/>
                <a:gd name="connsiteX18" fmla="*/ 42295 w 62418"/>
                <a:gd name="connsiteY18" fmla="*/ 20549 h 56938"/>
                <a:gd name="connsiteX19" fmla="*/ 43573 w 62418"/>
                <a:gd name="connsiteY19" fmla="*/ 20549 h 56938"/>
                <a:gd name="connsiteX20" fmla="*/ 47407 w 62418"/>
                <a:gd name="connsiteY20" fmla="*/ 21826 h 56938"/>
                <a:gd name="connsiteX21" fmla="*/ 49962 w 62418"/>
                <a:gd name="connsiteY21" fmla="*/ 26295 h 56938"/>
                <a:gd name="connsiteX22" fmla="*/ 44212 w 62418"/>
                <a:gd name="connsiteY22" fmla="*/ 33956 h 56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418" h="56938">
                  <a:moveTo>
                    <a:pt x="62104" y="24380"/>
                  </a:moveTo>
                  <a:cubicBezTo>
                    <a:pt x="61465" y="19273"/>
                    <a:pt x="58270" y="14804"/>
                    <a:pt x="54436" y="11612"/>
                  </a:cubicBezTo>
                  <a:cubicBezTo>
                    <a:pt x="49962" y="8420"/>
                    <a:pt x="44851" y="7143"/>
                    <a:pt x="39739" y="8420"/>
                  </a:cubicBezTo>
                  <a:cubicBezTo>
                    <a:pt x="32071" y="9697"/>
                    <a:pt x="25681" y="15442"/>
                    <a:pt x="23764" y="23103"/>
                  </a:cubicBezTo>
                  <a:cubicBezTo>
                    <a:pt x="22486" y="12250"/>
                    <a:pt x="17374" y="2674"/>
                    <a:pt x="7789" y="121"/>
                  </a:cubicBezTo>
                  <a:cubicBezTo>
                    <a:pt x="4594" y="-518"/>
                    <a:pt x="760" y="1398"/>
                    <a:pt x="121" y="5228"/>
                  </a:cubicBezTo>
                  <a:cubicBezTo>
                    <a:pt x="-518" y="8420"/>
                    <a:pt x="1399" y="12250"/>
                    <a:pt x="5233" y="12889"/>
                  </a:cubicBezTo>
                  <a:cubicBezTo>
                    <a:pt x="9067" y="13527"/>
                    <a:pt x="12262" y="21826"/>
                    <a:pt x="11623" y="30125"/>
                  </a:cubicBezTo>
                  <a:cubicBezTo>
                    <a:pt x="10984" y="38425"/>
                    <a:pt x="8428" y="44170"/>
                    <a:pt x="5872" y="44170"/>
                  </a:cubicBezTo>
                  <a:cubicBezTo>
                    <a:pt x="2677" y="44809"/>
                    <a:pt x="121" y="48001"/>
                    <a:pt x="760" y="51193"/>
                  </a:cubicBezTo>
                  <a:cubicBezTo>
                    <a:pt x="1399" y="54385"/>
                    <a:pt x="3955" y="56938"/>
                    <a:pt x="7150" y="56938"/>
                  </a:cubicBezTo>
                  <a:cubicBezTo>
                    <a:pt x="7150" y="56938"/>
                    <a:pt x="7789" y="56938"/>
                    <a:pt x="7789" y="56938"/>
                  </a:cubicBezTo>
                  <a:cubicBezTo>
                    <a:pt x="16735" y="55661"/>
                    <a:pt x="23125" y="46085"/>
                    <a:pt x="24403" y="32679"/>
                  </a:cubicBezTo>
                  <a:cubicBezTo>
                    <a:pt x="26959" y="40978"/>
                    <a:pt x="34627" y="46724"/>
                    <a:pt x="42934" y="46724"/>
                  </a:cubicBezTo>
                  <a:cubicBezTo>
                    <a:pt x="44212" y="46724"/>
                    <a:pt x="44851" y="46724"/>
                    <a:pt x="46129" y="46724"/>
                  </a:cubicBezTo>
                  <a:cubicBezTo>
                    <a:pt x="56992" y="45447"/>
                    <a:pt x="64020" y="35233"/>
                    <a:pt x="62104" y="24380"/>
                  </a:cubicBezTo>
                  <a:close/>
                  <a:moveTo>
                    <a:pt x="44212" y="33956"/>
                  </a:moveTo>
                  <a:cubicBezTo>
                    <a:pt x="40378" y="34594"/>
                    <a:pt x="37183" y="32041"/>
                    <a:pt x="36544" y="28210"/>
                  </a:cubicBezTo>
                  <a:cubicBezTo>
                    <a:pt x="35905" y="24380"/>
                    <a:pt x="38461" y="21188"/>
                    <a:pt x="42295" y="20549"/>
                  </a:cubicBezTo>
                  <a:cubicBezTo>
                    <a:pt x="42934" y="20549"/>
                    <a:pt x="42934" y="20549"/>
                    <a:pt x="43573" y="20549"/>
                  </a:cubicBezTo>
                  <a:cubicBezTo>
                    <a:pt x="44851" y="20549"/>
                    <a:pt x="46129" y="21188"/>
                    <a:pt x="47407" y="21826"/>
                  </a:cubicBezTo>
                  <a:cubicBezTo>
                    <a:pt x="48685" y="23103"/>
                    <a:pt x="49962" y="24380"/>
                    <a:pt x="49962" y="26295"/>
                  </a:cubicBezTo>
                  <a:cubicBezTo>
                    <a:pt x="50602" y="30125"/>
                    <a:pt x="48046" y="33956"/>
                    <a:pt x="44212" y="3395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Graphic 4">
              <a:extLst>
                <a:ext uri="{FF2B5EF4-FFF2-40B4-BE49-F238E27FC236}">
                  <a16:creationId xmlns:a16="http://schemas.microsoft.com/office/drawing/2014/main" id="{B5DE74E7-4EE1-10ED-BBF2-87D02D21AB19}"/>
                </a:ext>
              </a:extLst>
            </p:cNvPr>
            <p:cNvSpPr/>
            <p:nvPr/>
          </p:nvSpPr>
          <p:spPr>
            <a:xfrm>
              <a:off x="3650915" y="3977285"/>
              <a:ext cx="62375" cy="56915"/>
            </a:xfrm>
            <a:custGeom>
              <a:avLst/>
              <a:gdLst>
                <a:gd name="connsiteX0" fmla="*/ 54610 w 62375"/>
                <a:gd name="connsiteY0" fmla="*/ 56916 h 56915"/>
                <a:gd name="connsiteX1" fmla="*/ 55248 w 62375"/>
                <a:gd name="connsiteY1" fmla="*/ 56916 h 56915"/>
                <a:gd name="connsiteX2" fmla="*/ 61638 w 62375"/>
                <a:gd name="connsiteY2" fmla="*/ 51170 h 56915"/>
                <a:gd name="connsiteX3" fmla="*/ 56526 w 62375"/>
                <a:gd name="connsiteY3" fmla="*/ 44148 h 56915"/>
                <a:gd name="connsiteX4" fmla="*/ 50775 w 62375"/>
                <a:gd name="connsiteY4" fmla="*/ 30103 h 56915"/>
                <a:gd name="connsiteX5" fmla="*/ 57165 w 62375"/>
                <a:gd name="connsiteY5" fmla="*/ 12867 h 56915"/>
                <a:gd name="connsiteX6" fmla="*/ 62277 w 62375"/>
                <a:gd name="connsiteY6" fmla="*/ 5206 h 56915"/>
                <a:gd name="connsiteX7" fmla="*/ 54610 w 62375"/>
                <a:gd name="connsiteY7" fmla="*/ 99 h 56915"/>
                <a:gd name="connsiteX8" fmla="*/ 38635 w 62375"/>
                <a:gd name="connsiteY8" fmla="*/ 23081 h 56915"/>
                <a:gd name="connsiteX9" fmla="*/ 22660 w 62375"/>
                <a:gd name="connsiteY9" fmla="*/ 8398 h 56915"/>
                <a:gd name="connsiteX10" fmla="*/ 7963 w 62375"/>
                <a:gd name="connsiteY10" fmla="*/ 11590 h 56915"/>
                <a:gd name="connsiteX11" fmla="*/ 295 w 62375"/>
                <a:gd name="connsiteY11" fmla="*/ 24358 h 56915"/>
                <a:gd name="connsiteX12" fmla="*/ 16270 w 62375"/>
                <a:gd name="connsiteY12" fmla="*/ 46702 h 56915"/>
                <a:gd name="connsiteX13" fmla="*/ 19465 w 62375"/>
                <a:gd name="connsiteY13" fmla="*/ 46702 h 56915"/>
                <a:gd name="connsiteX14" fmla="*/ 37995 w 62375"/>
                <a:gd name="connsiteY14" fmla="*/ 32657 h 56915"/>
                <a:gd name="connsiteX15" fmla="*/ 54610 w 62375"/>
                <a:gd name="connsiteY15" fmla="*/ 56916 h 56915"/>
                <a:gd name="connsiteX16" fmla="*/ 18187 w 62375"/>
                <a:gd name="connsiteY16" fmla="*/ 33934 h 56915"/>
                <a:gd name="connsiteX17" fmla="*/ 12436 w 62375"/>
                <a:gd name="connsiteY17" fmla="*/ 26273 h 56915"/>
                <a:gd name="connsiteX18" fmla="*/ 14992 w 62375"/>
                <a:gd name="connsiteY18" fmla="*/ 21804 h 56915"/>
                <a:gd name="connsiteX19" fmla="*/ 18826 w 62375"/>
                <a:gd name="connsiteY19" fmla="*/ 20527 h 56915"/>
                <a:gd name="connsiteX20" fmla="*/ 20104 w 62375"/>
                <a:gd name="connsiteY20" fmla="*/ 20527 h 56915"/>
                <a:gd name="connsiteX21" fmla="*/ 25855 w 62375"/>
                <a:gd name="connsiteY21" fmla="*/ 28188 h 56915"/>
                <a:gd name="connsiteX22" fmla="*/ 18187 w 62375"/>
                <a:gd name="connsiteY22" fmla="*/ 33934 h 56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375" h="56915">
                  <a:moveTo>
                    <a:pt x="54610" y="56916"/>
                  </a:moveTo>
                  <a:cubicBezTo>
                    <a:pt x="54610" y="56916"/>
                    <a:pt x="55248" y="56916"/>
                    <a:pt x="55248" y="56916"/>
                  </a:cubicBezTo>
                  <a:cubicBezTo>
                    <a:pt x="58443" y="56916"/>
                    <a:pt x="60999" y="54362"/>
                    <a:pt x="61638" y="51170"/>
                  </a:cubicBezTo>
                  <a:cubicBezTo>
                    <a:pt x="62277" y="47978"/>
                    <a:pt x="59721" y="44148"/>
                    <a:pt x="56526" y="44148"/>
                  </a:cubicBezTo>
                  <a:cubicBezTo>
                    <a:pt x="53970" y="43510"/>
                    <a:pt x="50775" y="37764"/>
                    <a:pt x="50775" y="30103"/>
                  </a:cubicBezTo>
                  <a:cubicBezTo>
                    <a:pt x="50137" y="21166"/>
                    <a:pt x="53331" y="13505"/>
                    <a:pt x="57165" y="12867"/>
                  </a:cubicBezTo>
                  <a:cubicBezTo>
                    <a:pt x="60360" y="12228"/>
                    <a:pt x="62916" y="8398"/>
                    <a:pt x="62277" y="5206"/>
                  </a:cubicBezTo>
                  <a:cubicBezTo>
                    <a:pt x="61638" y="2014"/>
                    <a:pt x="57805" y="-540"/>
                    <a:pt x="54610" y="99"/>
                  </a:cubicBezTo>
                  <a:cubicBezTo>
                    <a:pt x="45025" y="2014"/>
                    <a:pt x="39912" y="12228"/>
                    <a:pt x="38635" y="23081"/>
                  </a:cubicBezTo>
                  <a:cubicBezTo>
                    <a:pt x="36717" y="16058"/>
                    <a:pt x="30967" y="9675"/>
                    <a:pt x="22660" y="8398"/>
                  </a:cubicBezTo>
                  <a:cubicBezTo>
                    <a:pt x="17548" y="7759"/>
                    <a:pt x="12436" y="9036"/>
                    <a:pt x="7963" y="11590"/>
                  </a:cubicBezTo>
                  <a:cubicBezTo>
                    <a:pt x="3490" y="14782"/>
                    <a:pt x="934" y="19250"/>
                    <a:pt x="295" y="24358"/>
                  </a:cubicBezTo>
                  <a:cubicBezTo>
                    <a:pt x="-1622" y="35210"/>
                    <a:pt x="6046" y="44786"/>
                    <a:pt x="16270" y="46702"/>
                  </a:cubicBezTo>
                  <a:cubicBezTo>
                    <a:pt x="17548" y="46702"/>
                    <a:pt x="18187" y="46702"/>
                    <a:pt x="19465" y="46702"/>
                  </a:cubicBezTo>
                  <a:cubicBezTo>
                    <a:pt x="28411" y="46702"/>
                    <a:pt x="36079" y="40956"/>
                    <a:pt x="37995" y="32657"/>
                  </a:cubicBezTo>
                  <a:cubicBezTo>
                    <a:pt x="39274" y="46063"/>
                    <a:pt x="45663" y="55639"/>
                    <a:pt x="54610" y="56916"/>
                  </a:cubicBezTo>
                  <a:close/>
                  <a:moveTo>
                    <a:pt x="18187" y="33934"/>
                  </a:moveTo>
                  <a:cubicBezTo>
                    <a:pt x="14353" y="33295"/>
                    <a:pt x="11797" y="30103"/>
                    <a:pt x="12436" y="26273"/>
                  </a:cubicBezTo>
                  <a:cubicBezTo>
                    <a:pt x="12436" y="24358"/>
                    <a:pt x="13714" y="23081"/>
                    <a:pt x="14992" y="21804"/>
                  </a:cubicBezTo>
                  <a:cubicBezTo>
                    <a:pt x="16270" y="21166"/>
                    <a:pt x="17548" y="20527"/>
                    <a:pt x="18826" y="20527"/>
                  </a:cubicBezTo>
                  <a:cubicBezTo>
                    <a:pt x="19465" y="20527"/>
                    <a:pt x="19465" y="20527"/>
                    <a:pt x="20104" y="20527"/>
                  </a:cubicBezTo>
                  <a:cubicBezTo>
                    <a:pt x="23938" y="21166"/>
                    <a:pt x="26494" y="24358"/>
                    <a:pt x="25855" y="28188"/>
                  </a:cubicBezTo>
                  <a:cubicBezTo>
                    <a:pt x="25216" y="32657"/>
                    <a:pt x="22021" y="34572"/>
                    <a:pt x="18187" y="339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Graphic 4">
              <a:extLst>
                <a:ext uri="{FF2B5EF4-FFF2-40B4-BE49-F238E27FC236}">
                  <a16:creationId xmlns:a16="http://schemas.microsoft.com/office/drawing/2014/main" id="{37F79D43-D03C-2A95-29C9-566D62E74BAB}"/>
                </a:ext>
              </a:extLst>
            </p:cNvPr>
            <p:cNvSpPr/>
            <p:nvPr/>
          </p:nvSpPr>
          <p:spPr>
            <a:xfrm>
              <a:off x="3685552" y="4042699"/>
              <a:ext cx="67732" cy="66193"/>
            </a:xfrm>
            <a:custGeom>
              <a:avLst/>
              <a:gdLst>
                <a:gd name="connsiteX0" fmla="*/ 57672 w 67732"/>
                <a:gd name="connsiteY0" fmla="*/ 32359 h 66193"/>
                <a:gd name="connsiteX1" fmla="*/ 43614 w 67732"/>
                <a:gd name="connsiteY1" fmla="*/ 26613 h 66193"/>
                <a:gd name="connsiteX2" fmla="*/ 35947 w 67732"/>
                <a:gd name="connsiteY2" fmla="*/ 10015 h 66193"/>
                <a:gd name="connsiteX3" fmla="*/ 34029 w 67732"/>
                <a:gd name="connsiteY3" fmla="*/ 1077 h 66193"/>
                <a:gd name="connsiteX4" fmla="*/ 25084 w 67732"/>
                <a:gd name="connsiteY4" fmla="*/ 2992 h 66193"/>
                <a:gd name="connsiteX5" fmla="*/ 29557 w 67732"/>
                <a:gd name="connsiteY5" fmla="*/ 30444 h 66193"/>
                <a:gd name="connsiteX6" fmla="*/ 7831 w 67732"/>
                <a:gd name="connsiteY6" fmla="*/ 31082 h 66193"/>
                <a:gd name="connsiteX7" fmla="*/ 163 w 67732"/>
                <a:gd name="connsiteY7" fmla="*/ 43850 h 66193"/>
                <a:gd name="connsiteX8" fmla="*/ 3358 w 67732"/>
                <a:gd name="connsiteY8" fmla="*/ 58533 h 66193"/>
                <a:gd name="connsiteX9" fmla="*/ 16138 w 67732"/>
                <a:gd name="connsiteY9" fmla="*/ 66194 h 66193"/>
                <a:gd name="connsiteX10" fmla="*/ 19333 w 67732"/>
                <a:gd name="connsiteY10" fmla="*/ 66194 h 66193"/>
                <a:gd name="connsiteX11" fmla="*/ 30834 w 67732"/>
                <a:gd name="connsiteY11" fmla="*/ 62364 h 66193"/>
                <a:gd name="connsiteX12" fmla="*/ 35947 w 67732"/>
                <a:gd name="connsiteY12" fmla="*/ 36828 h 66193"/>
                <a:gd name="connsiteX13" fmla="*/ 55755 w 67732"/>
                <a:gd name="connsiteY13" fmla="*/ 45127 h 66193"/>
                <a:gd name="connsiteX14" fmla="*/ 65340 w 67732"/>
                <a:gd name="connsiteY14" fmla="*/ 41935 h 66193"/>
                <a:gd name="connsiteX15" fmla="*/ 66618 w 67732"/>
                <a:gd name="connsiteY15" fmla="*/ 32997 h 66193"/>
                <a:gd name="connsiteX16" fmla="*/ 57672 w 67732"/>
                <a:gd name="connsiteY16" fmla="*/ 32359 h 66193"/>
                <a:gd name="connsiteX17" fmla="*/ 23167 w 67732"/>
                <a:gd name="connsiteY17" fmla="*/ 52149 h 66193"/>
                <a:gd name="connsiteX18" fmla="*/ 18055 w 67732"/>
                <a:gd name="connsiteY18" fmla="*/ 53426 h 66193"/>
                <a:gd name="connsiteX19" fmla="*/ 13582 w 67732"/>
                <a:gd name="connsiteY19" fmla="*/ 50872 h 66193"/>
                <a:gd name="connsiteX20" fmla="*/ 12304 w 67732"/>
                <a:gd name="connsiteY20" fmla="*/ 45765 h 66193"/>
                <a:gd name="connsiteX21" fmla="*/ 14860 w 67732"/>
                <a:gd name="connsiteY21" fmla="*/ 41296 h 66193"/>
                <a:gd name="connsiteX22" fmla="*/ 18694 w 67732"/>
                <a:gd name="connsiteY22" fmla="*/ 40020 h 66193"/>
                <a:gd name="connsiteX23" fmla="*/ 23806 w 67732"/>
                <a:gd name="connsiteY23" fmla="*/ 42573 h 66193"/>
                <a:gd name="connsiteX24" fmla="*/ 23167 w 67732"/>
                <a:gd name="connsiteY24" fmla="*/ 52149 h 66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7732" h="66193">
                  <a:moveTo>
                    <a:pt x="57672" y="32359"/>
                  </a:moveTo>
                  <a:cubicBezTo>
                    <a:pt x="55755" y="33636"/>
                    <a:pt x="49365" y="31720"/>
                    <a:pt x="43614" y="26613"/>
                  </a:cubicBezTo>
                  <a:cubicBezTo>
                    <a:pt x="37224" y="20868"/>
                    <a:pt x="34029" y="13207"/>
                    <a:pt x="35947" y="10015"/>
                  </a:cubicBezTo>
                  <a:cubicBezTo>
                    <a:pt x="37864" y="6823"/>
                    <a:pt x="37224" y="2992"/>
                    <a:pt x="34029" y="1077"/>
                  </a:cubicBezTo>
                  <a:cubicBezTo>
                    <a:pt x="30834" y="-838"/>
                    <a:pt x="27001" y="-200"/>
                    <a:pt x="25084" y="2992"/>
                  </a:cubicBezTo>
                  <a:cubicBezTo>
                    <a:pt x="19972" y="11292"/>
                    <a:pt x="23167" y="22144"/>
                    <a:pt x="29557" y="30444"/>
                  </a:cubicBezTo>
                  <a:cubicBezTo>
                    <a:pt x="23167" y="26613"/>
                    <a:pt x="14860" y="26613"/>
                    <a:pt x="7831" y="31082"/>
                  </a:cubicBezTo>
                  <a:cubicBezTo>
                    <a:pt x="3358" y="34274"/>
                    <a:pt x="802" y="38743"/>
                    <a:pt x="163" y="43850"/>
                  </a:cubicBezTo>
                  <a:cubicBezTo>
                    <a:pt x="-476" y="48957"/>
                    <a:pt x="802" y="54064"/>
                    <a:pt x="3358" y="58533"/>
                  </a:cubicBezTo>
                  <a:cubicBezTo>
                    <a:pt x="6553" y="63002"/>
                    <a:pt x="11026" y="65556"/>
                    <a:pt x="16138" y="66194"/>
                  </a:cubicBezTo>
                  <a:cubicBezTo>
                    <a:pt x="17416" y="66194"/>
                    <a:pt x="18055" y="66194"/>
                    <a:pt x="19333" y="66194"/>
                  </a:cubicBezTo>
                  <a:cubicBezTo>
                    <a:pt x="23167" y="66194"/>
                    <a:pt x="27001" y="64917"/>
                    <a:pt x="30834" y="62364"/>
                  </a:cubicBezTo>
                  <a:cubicBezTo>
                    <a:pt x="39142" y="56618"/>
                    <a:pt x="41059" y="45127"/>
                    <a:pt x="35947" y="36828"/>
                  </a:cubicBezTo>
                  <a:cubicBezTo>
                    <a:pt x="42337" y="42573"/>
                    <a:pt x="49365" y="45127"/>
                    <a:pt x="55755" y="45127"/>
                  </a:cubicBezTo>
                  <a:cubicBezTo>
                    <a:pt x="59589" y="45127"/>
                    <a:pt x="62784" y="43850"/>
                    <a:pt x="65340" y="41935"/>
                  </a:cubicBezTo>
                  <a:cubicBezTo>
                    <a:pt x="67896" y="40020"/>
                    <a:pt x="68535" y="35551"/>
                    <a:pt x="66618" y="32997"/>
                  </a:cubicBezTo>
                  <a:cubicBezTo>
                    <a:pt x="64062" y="30444"/>
                    <a:pt x="60228" y="29805"/>
                    <a:pt x="57672" y="32359"/>
                  </a:cubicBezTo>
                  <a:close/>
                  <a:moveTo>
                    <a:pt x="23167" y="52149"/>
                  </a:moveTo>
                  <a:cubicBezTo>
                    <a:pt x="21889" y="53426"/>
                    <a:pt x="19972" y="53426"/>
                    <a:pt x="18055" y="53426"/>
                  </a:cubicBezTo>
                  <a:cubicBezTo>
                    <a:pt x="16138" y="53426"/>
                    <a:pt x="14860" y="52149"/>
                    <a:pt x="13582" y="50872"/>
                  </a:cubicBezTo>
                  <a:cubicBezTo>
                    <a:pt x="12304" y="49596"/>
                    <a:pt x="12304" y="47680"/>
                    <a:pt x="12304" y="45765"/>
                  </a:cubicBezTo>
                  <a:cubicBezTo>
                    <a:pt x="12304" y="43850"/>
                    <a:pt x="13582" y="42573"/>
                    <a:pt x="14860" y="41296"/>
                  </a:cubicBezTo>
                  <a:cubicBezTo>
                    <a:pt x="16138" y="40658"/>
                    <a:pt x="17416" y="40020"/>
                    <a:pt x="18694" y="40020"/>
                  </a:cubicBezTo>
                  <a:cubicBezTo>
                    <a:pt x="20611" y="40020"/>
                    <a:pt x="22528" y="40658"/>
                    <a:pt x="23806" y="42573"/>
                  </a:cubicBezTo>
                  <a:cubicBezTo>
                    <a:pt x="27001" y="45765"/>
                    <a:pt x="26362" y="49596"/>
                    <a:pt x="23167" y="5214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Graphic 4">
              <a:extLst>
                <a:ext uri="{FF2B5EF4-FFF2-40B4-BE49-F238E27FC236}">
                  <a16:creationId xmlns:a16="http://schemas.microsoft.com/office/drawing/2014/main" id="{78E75100-84A9-03A9-FDD3-404F6859FA15}"/>
                </a:ext>
              </a:extLst>
            </p:cNvPr>
            <p:cNvSpPr/>
            <p:nvPr/>
          </p:nvSpPr>
          <p:spPr>
            <a:xfrm>
              <a:off x="3825179" y="4042699"/>
              <a:ext cx="68059" cy="66193"/>
            </a:xfrm>
            <a:custGeom>
              <a:avLst/>
              <a:gdLst>
                <a:gd name="connsiteX0" fmla="*/ 59902 w 68059"/>
                <a:gd name="connsiteY0" fmla="*/ 31082 h 66193"/>
                <a:gd name="connsiteX1" fmla="*/ 38176 w 68059"/>
                <a:gd name="connsiteY1" fmla="*/ 30444 h 66193"/>
                <a:gd name="connsiteX2" fmla="*/ 42649 w 68059"/>
                <a:gd name="connsiteY2" fmla="*/ 2992 h 66193"/>
                <a:gd name="connsiteX3" fmla="*/ 33704 w 68059"/>
                <a:gd name="connsiteY3" fmla="*/ 1077 h 66193"/>
                <a:gd name="connsiteX4" fmla="*/ 31786 w 68059"/>
                <a:gd name="connsiteY4" fmla="*/ 10015 h 66193"/>
                <a:gd name="connsiteX5" fmla="*/ 24119 w 68059"/>
                <a:gd name="connsiteY5" fmla="*/ 26613 h 66193"/>
                <a:gd name="connsiteX6" fmla="*/ 10061 w 68059"/>
                <a:gd name="connsiteY6" fmla="*/ 32359 h 66193"/>
                <a:gd name="connsiteX7" fmla="*/ 1115 w 68059"/>
                <a:gd name="connsiteY7" fmla="*/ 33636 h 66193"/>
                <a:gd name="connsiteX8" fmla="*/ 2393 w 68059"/>
                <a:gd name="connsiteY8" fmla="*/ 42573 h 66193"/>
                <a:gd name="connsiteX9" fmla="*/ 11978 w 68059"/>
                <a:gd name="connsiteY9" fmla="*/ 45765 h 66193"/>
                <a:gd name="connsiteX10" fmla="*/ 31786 w 68059"/>
                <a:gd name="connsiteY10" fmla="*/ 36828 h 66193"/>
                <a:gd name="connsiteX11" fmla="*/ 36898 w 68059"/>
                <a:gd name="connsiteY11" fmla="*/ 62364 h 66193"/>
                <a:gd name="connsiteX12" fmla="*/ 48400 w 68059"/>
                <a:gd name="connsiteY12" fmla="*/ 66194 h 66193"/>
                <a:gd name="connsiteX13" fmla="*/ 51595 w 68059"/>
                <a:gd name="connsiteY13" fmla="*/ 66194 h 66193"/>
                <a:gd name="connsiteX14" fmla="*/ 64375 w 68059"/>
                <a:gd name="connsiteY14" fmla="*/ 58533 h 66193"/>
                <a:gd name="connsiteX15" fmla="*/ 67570 w 68059"/>
                <a:gd name="connsiteY15" fmla="*/ 43850 h 66193"/>
                <a:gd name="connsiteX16" fmla="*/ 59902 w 68059"/>
                <a:gd name="connsiteY16" fmla="*/ 31082 h 66193"/>
                <a:gd name="connsiteX17" fmla="*/ 54151 w 68059"/>
                <a:gd name="connsiteY17" fmla="*/ 50234 h 66193"/>
                <a:gd name="connsiteX18" fmla="*/ 49678 w 68059"/>
                <a:gd name="connsiteY18" fmla="*/ 52788 h 66193"/>
                <a:gd name="connsiteX19" fmla="*/ 44566 w 68059"/>
                <a:gd name="connsiteY19" fmla="*/ 51511 h 66193"/>
                <a:gd name="connsiteX20" fmla="*/ 43288 w 68059"/>
                <a:gd name="connsiteY20" fmla="*/ 41935 h 66193"/>
                <a:gd name="connsiteX21" fmla="*/ 52873 w 68059"/>
                <a:gd name="connsiteY21" fmla="*/ 40658 h 66193"/>
                <a:gd name="connsiteX22" fmla="*/ 55429 w 68059"/>
                <a:gd name="connsiteY22" fmla="*/ 45127 h 66193"/>
                <a:gd name="connsiteX23" fmla="*/ 54151 w 68059"/>
                <a:gd name="connsiteY23" fmla="*/ 50234 h 66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8059" h="66193">
                  <a:moveTo>
                    <a:pt x="59902" y="31082"/>
                  </a:moveTo>
                  <a:cubicBezTo>
                    <a:pt x="53512" y="26613"/>
                    <a:pt x="45205" y="26613"/>
                    <a:pt x="38176" y="30444"/>
                  </a:cubicBezTo>
                  <a:cubicBezTo>
                    <a:pt x="44566" y="22144"/>
                    <a:pt x="48400" y="11292"/>
                    <a:pt x="42649" y="2992"/>
                  </a:cubicBezTo>
                  <a:cubicBezTo>
                    <a:pt x="40732" y="-200"/>
                    <a:pt x="36898" y="-838"/>
                    <a:pt x="33704" y="1077"/>
                  </a:cubicBezTo>
                  <a:cubicBezTo>
                    <a:pt x="30509" y="2992"/>
                    <a:pt x="29869" y="6823"/>
                    <a:pt x="31786" y="10015"/>
                  </a:cubicBezTo>
                  <a:cubicBezTo>
                    <a:pt x="33704" y="13207"/>
                    <a:pt x="30509" y="20868"/>
                    <a:pt x="24119" y="26613"/>
                  </a:cubicBezTo>
                  <a:cubicBezTo>
                    <a:pt x="18368" y="32359"/>
                    <a:pt x="11978" y="34274"/>
                    <a:pt x="10061" y="32359"/>
                  </a:cubicBezTo>
                  <a:cubicBezTo>
                    <a:pt x="7505" y="30444"/>
                    <a:pt x="3032" y="31082"/>
                    <a:pt x="1115" y="33636"/>
                  </a:cubicBezTo>
                  <a:cubicBezTo>
                    <a:pt x="-802" y="36189"/>
                    <a:pt x="-163" y="40658"/>
                    <a:pt x="2393" y="42573"/>
                  </a:cubicBezTo>
                  <a:cubicBezTo>
                    <a:pt x="4949" y="44488"/>
                    <a:pt x="8144" y="45765"/>
                    <a:pt x="11978" y="45765"/>
                  </a:cubicBezTo>
                  <a:cubicBezTo>
                    <a:pt x="18368" y="45765"/>
                    <a:pt x="24757" y="42573"/>
                    <a:pt x="31786" y="36828"/>
                  </a:cubicBezTo>
                  <a:cubicBezTo>
                    <a:pt x="26674" y="45127"/>
                    <a:pt x="29230" y="56618"/>
                    <a:pt x="36898" y="62364"/>
                  </a:cubicBezTo>
                  <a:cubicBezTo>
                    <a:pt x="40093" y="64917"/>
                    <a:pt x="43927" y="66194"/>
                    <a:pt x="48400" y="66194"/>
                  </a:cubicBezTo>
                  <a:cubicBezTo>
                    <a:pt x="49678" y="66194"/>
                    <a:pt x="50317" y="66194"/>
                    <a:pt x="51595" y="66194"/>
                  </a:cubicBezTo>
                  <a:cubicBezTo>
                    <a:pt x="56707" y="65556"/>
                    <a:pt x="61180" y="62364"/>
                    <a:pt x="64375" y="58533"/>
                  </a:cubicBezTo>
                  <a:cubicBezTo>
                    <a:pt x="67570" y="54064"/>
                    <a:pt x="68848" y="48957"/>
                    <a:pt x="67570" y="43850"/>
                  </a:cubicBezTo>
                  <a:cubicBezTo>
                    <a:pt x="66931" y="38743"/>
                    <a:pt x="64375" y="33636"/>
                    <a:pt x="59902" y="31082"/>
                  </a:cubicBezTo>
                  <a:close/>
                  <a:moveTo>
                    <a:pt x="54151" y="50234"/>
                  </a:moveTo>
                  <a:cubicBezTo>
                    <a:pt x="52873" y="51511"/>
                    <a:pt x="51595" y="52788"/>
                    <a:pt x="49678" y="52788"/>
                  </a:cubicBezTo>
                  <a:cubicBezTo>
                    <a:pt x="47761" y="52788"/>
                    <a:pt x="46483" y="52788"/>
                    <a:pt x="44566" y="51511"/>
                  </a:cubicBezTo>
                  <a:cubicBezTo>
                    <a:pt x="41371" y="49596"/>
                    <a:pt x="40732" y="45127"/>
                    <a:pt x="43288" y="41935"/>
                  </a:cubicBezTo>
                  <a:cubicBezTo>
                    <a:pt x="45205" y="38743"/>
                    <a:pt x="49678" y="38104"/>
                    <a:pt x="52873" y="40658"/>
                  </a:cubicBezTo>
                  <a:cubicBezTo>
                    <a:pt x="54151" y="41935"/>
                    <a:pt x="55429" y="43212"/>
                    <a:pt x="55429" y="45127"/>
                  </a:cubicBezTo>
                  <a:cubicBezTo>
                    <a:pt x="55429" y="47042"/>
                    <a:pt x="55429" y="48957"/>
                    <a:pt x="54151" y="502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Graphic 4">
              <a:extLst>
                <a:ext uri="{FF2B5EF4-FFF2-40B4-BE49-F238E27FC236}">
                  <a16:creationId xmlns:a16="http://schemas.microsoft.com/office/drawing/2014/main" id="{FEF28446-D8BD-5E29-8AAD-9FC80F6E6F43}"/>
                </a:ext>
              </a:extLst>
            </p:cNvPr>
            <p:cNvSpPr/>
            <p:nvPr/>
          </p:nvSpPr>
          <p:spPr>
            <a:xfrm>
              <a:off x="3684587" y="3902762"/>
              <a:ext cx="67420" cy="66322"/>
            </a:xfrm>
            <a:custGeom>
              <a:avLst/>
              <a:gdLst>
                <a:gd name="connsiteX0" fmla="*/ 8797 w 67420"/>
                <a:gd name="connsiteY0" fmla="*/ 35041 h 66322"/>
                <a:gd name="connsiteX1" fmla="*/ 20298 w 67420"/>
                <a:gd name="connsiteY1" fmla="*/ 38871 h 66322"/>
                <a:gd name="connsiteX2" fmla="*/ 30523 w 67420"/>
                <a:gd name="connsiteY2" fmla="*/ 35679 h 66322"/>
                <a:gd name="connsiteX3" fmla="*/ 25410 w 67420"/>
                <a:gd name="connsiteY3" fmla="*/ 63130 h 66322"/>
                <a:gd name="connsiteX4" fmla="*/ 30523 w 67420"/>
                <a:gd name="connsiteY4" fmla="*/ 66322 h 66322"/>
                <a:gd name="connsiteX5" fmla="*/ 33718 w 67420"/>
                <a:gd name="connsiteY5" fmla="*/ 65046 h 66322"/>
                <a:gd name="connsiteX6" fmla="*/ 35634 w 67420"/>
                <a:gd name="connsiteY6" fmla="*/ 56108 h 66322"/>
                <a:gd name="connsiteX7" fmla="*/ 43302 w 67420"/>
                <a:gd name="connsiteY7" fmla="*/ 39510 h 66322"/>
                <a:gd name="connsiteX8" fmla="*/ 57360 w 67420"/>
                <a:gd name="connsiteY8" fmla="*/ 33764 h 66322"/>
                <a:gd name="connsiteX9" fmla="*/ 66306 w 67420"/>
                <a:gd name="connsiteY9" fmla="*/ 32487 h 66322"/>
                <a:gd name="connsiteX10" fmla="*/ 65028 w 67420"/>
                <a:gd name="connsiteY10" fmla="*/ 23550 h 66322"/>
                <a:gd name="connsiteX11" fmla="*/ 35634 w 67420"/>
                <a:gd name="connsiteY11" fmla="*/ 29295 h 66322"/>
                <a:gd name="connsiteX12" fmla="*/ 38190 w 67420"/>
                <a:gd name="connsiteY12" fmla="*/ 16527 h 66322"/>
                <a:gd name="connsiteX13" fmla="*/ 30523 w 67420"/>
                <a:gd name="connsiteY13" fmla="*/ 3759 h 66322"/>
                <a:gd name="connsiteX14" fmla="*/ 3685 w 67420"/>
                <a:gd name="connsiteY14" fmla="*/ 8228 h 66322"/>
                <a:gd name="connsiteX15" fmla="*/ 490 w 67420"/>
                <a:gd name="connsiteY15" fmla="*/ 22911 h 66322"/>
                <a:gd name="connsiteX16" fmla="*/ 8797 w 67420"/>
                <a:gd name="connsiteY16" fmla="*/ 35041 h 66322"/>
                <a:gd name="connsiteX17" fmla="*/ 15187 w 67420"/>
                <a:gd name="connsiteY17" fmla="*/ 15250 h 66322"/>
                <a:gd name="connsiteX18" fmla="*/ 20298 w 67420"/>
                <a:gd name="connsiteY18" fmla="*/ 12697 h 66322"/>
                <a:gd name="connsiteX19" fmla="*/ 24133 w 67420"/>
                <a:gd name="connsiteY19" fmla="*/ 13974 h 66322"/>
                <a:gd name="connsiteX20" fmla="*/ 26688 w 67420"/>
                <a:gd name="connsiteY20" fmla="*/ 18442 h 66322"/>
                <a:gd name="connsiteX21" fmla="*/ 25410 w 67420"/>
                <a:gd name="connsiteY21" fmla="*/ 23550 h 66322"/>
                <a:gd name="connsiteX22" fmla="*/ 15825 w 67420"/>
                <a:gd name="connsiteY22" fmla="*/ 24826 h 66322"/>
                <a:gd name="connsiteX23" fmla="*/ 13270 w 67420"/>
                <a:gd name="connsiteY23" fmla="*/ 20358 h 66322"/>
                <a:gd name="connsiteX24" fmla="*/ 15187 w 67420"/>
                <a:gd name="connsiteY24" fmla="*/ 15250 h 66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7420" h="66322">
                  <a:moveTo>
                    <a:pt x="8797" y="35041"/>
                  </a:moveTo>
                  <a:cubicBezTo>
                    <a:pt x="11992" y="37594"/>
                    <a:pt x="16465" y="38871"/>
                    <a:pt x="20298" y="38871"/>
                  </a:cubicBezTo>
                  <a:cubicBezTo>
                    <a:pt x="24133" y="38871"/>
                    <a:pt x="27328" y="37594"/>
                    <a:pt x="30523" y="35679"/>
                  </a:cubicBezTo>
                  <a:cubicBezTo>
                    <a:pt x="23493" y="43978"/>
                    <a:pt x="20298" y="54831"/>
                    <a:pt x="25410" y="63130"/>
                  </a:cubicBezTo>
                  <a:cubicBezTo>
                    <a:pt x="26688" y="65046"/>
                    <a:pt x="28605" y="66322"/>
                    <a:pt x="30523" y="66322"/>
                  </a:cubicBezTo>
                  <a:cubicBezTo>
                    <a:pt x="31800" y="66322"/>
                    <a:pt x="33078" y="66322"/>
                    <a:pt x="33718" y="65046"/>
                  </a:cubicBezTo>
                  <a:cubicBezTo>
                    <a:pt x="36912" y="63130"/>
                    <a:pt x="37551" y="59300"/>
                    <a:pt x="35634" y="56108"/>
                  </a:cubicBezTo>
                  <a:cubicBezTo>
                    <a:pt x="33718" y="52916"/>
                    <a:pt x="36912" y="45255"/>
                    <a:pt x="43302" y="39510"/>
                  </a:cubicBezTo>
                  <a:cubicBezTo>
                    <a:pt x="49053" y="33764"/>
                    <a:pt x="55443" y="31849"/>
                    <a:pt x="57360" y="33764"/>
                  </a:cubicBezTo>
                  <a:cubicBezTo>
                    <a:pt x="59916" y="35679"/>
                    <a:pt x="64389" y="35041"/>
                    <a:pt x="66306" y="32487"/>
                  </a:cubicBezTo>
                  <a:cubicBezTo>
                    <a:pt x="68223" y="29934"/>
                    <a:pt x="67584" y="25465"/>
                    <a:pt x="65028" y="23550"/>
                  </a:cubicBezTo>
                  <a:cubicBezTo>
                    <a:pt x="57360" y="17804"/>
                    <a:pt x="46497" y="20358"/>
                    <a:pt x="35634" y="29295"/>
                  </a:cubicBezTo>
                  <a:cubicBezTo>
                    <a:pt x="37551" y="25465"/>
                    <a:pt x="38829" y="20996"/>
                    <a:pt x="38190" y="16527"/>
                  </a:cubicBezTo>
                  <a:cubicBezTo>
                    <a:pt x="37551" y="11420"/>
                    <a:pt x="34356" y="6951"/>
                    <a:pt x="30523" y="3759"/>
                  </a:cubicBezTo>
                  <a:cubicBezTo>
                    <a:pt x="21576" y="-2625"/>
                    <a:pt x="9435" y="-710"/>
                    <a:pt x="3685" y="8228"/>
                  </a:cubicBezTo>
                  <a:cubicBezTo>
                    <a:pt x="490" y="12697"/>
                    <a:pt x="-788" y="17804"/>
                    <a:pt x="490" y="22911"/>
                  </a:cubicBezTo>
                  <a:cubicBezTo>
                    <a:pt x="1768" y="28018"/>
                    <a:pt x="4963" y="31849"/>
                    <a:pt x="8797" y="35041"/>
                  </a:cubicBezTo>
                  <a:close/>
                  <a:moveTo>
                    <a:pt x="15187" y="15250"/>
                  </a:moveTo>
                  <a:cubicBezTo>
                    <a:pt x="16465" y="13335"/>
                    <a:pt x="18382" y="12697"/>
                    <a:pt x="20298" y="12697"/>
                  </a:cubicBezTo>
                  <a:cubicBezTo>
                    <a:pt x="21576" y="12697"/>
                    <a:pt x="22855" y="13335"/>
                    <a:pt x="24133" y="13974"/>
                  </a:cubicBezTo>
                  <a:cubicBezTo>
                    <a:pt x="25410" y="15250"/>
                    <a:pt x="26688" y="16527"/>
                    <a:pt x="26688" y="18442"/>
                  </a:cubicBezTo>
                  <a:cubicBezTo>
                    <a:pt x="26688" y="20358"/>
                    <a:pt x="26688" y="21634"/>
                    <a:pt x="25410" y="23550"/>
                  </a:cubicBezTo>
                  <a:cubicBezTo>
                    <a:pt x="23493" y="26742"/>
                    <a:pt x="19020" y="27380"/>
                    <a:pt x="15825" y="24826"/>
                  </a:cubicBezTo>
                  <a:cubicBezTo>
                    <a:pt x="14548" y="23550"/>
                    <a:pt x="13270" y="22273"/>
                    <a:pt x="13270" y="20358"/>
                  </a:cubicBezTo>
                  <a:cubicBezTo>
                    <a:pt x="13270" y="18442"/>
                    <a:pt x="13908" y="16527"/>
                    <a:pt x="15187" y="1525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Graphic 4">
              <a:extLst>
                <a:ext uri="{FF2B5EF4-FFF2-40B4-BE49-F238E27FC236}">
                  <a16:creationId xmlns:a16="http://schemas.microsoft.com/office/drawing/2014/main" id="{C60CED2B-387A-C952-339B-C217FB38407A}"/>
                </a:ext>
              </a:extLst>
            </p:cNvPr>
            <p:cNvSpPr/>
            <p:nvPr/>
          </p:nvSpPr>
          <p:spPr>
            <a:xfrm>
              <a:off x="3825179" y="3902123"/>
              <a:ext cx="67093" cy="66960"/>
            </a:xfrm>
            <a:custGeom>
              <a:avLst/>
              <a:gdLst>
                <a:gd name="connsiteX0" fmla="*/ 10700 w 67093"/>
                <a:gd name="connsiteY0" fmla="*/ 34402 h 66960"/>
                <a:gd name="connsiteX1" fmla="*/ 24757 w 67093"/>
                <a:gd name="connsiteY1" fmla="*/ 40148 h 66960"/>
                <a:gd name="connsiteX2" fmla="*/ 32425 w 67093"/>
                <a:gd name="connsiteY2" fmla="*/ 56746 h 66960"/>
                <a:gd name="connsiteX3" fmla="*/ 34342 w 67093"/>
                <a:gd name="connsiteY3" fmla="*/ 65684 h 66960"/>
                <a:gd name="connsiteX4" fmla="*/ 37537 w 67093"/>
                <a:gd name="connsiteY4" fmla="*/ 66960 h 66960"/>
                <a:gd name="connsiteX5" fmla="*/ 42649 w 67093"/>
                <a:gd name="connsiteY5" fmla="*/ 63768 h 66960"/>
                <a:gd name="connsiteX6" fmla="*/ 37537 w 67093"/>
                <a:gd name="connsiteY6" fmla="*/ 36317 h 66960"/>
                <a:gd name="connsiteX7" fmla="*/ 47761 w 67093"/>
                <a:gd name="connsiteY7" fmla="*/ 39509 h 66960"/>
                <a:gd name="connsiteX8" fmla="*/ 59263 w 67093"/>
                <a:gd name="connsiteY8" fmla="*/ 35679 h 66960"/>
                <a:gd name="connsiteX9" fmla="*/ 66931 w 67093"/>
                <a:gd name="connsiteY9" fmla="*/ 22911 h 66960"/>
                <a:gd name="connsiteX10" fmla="*/ 63736 w 67093"/>
                <a:gd name="connsiteY10" fmla="*/ 8228 h 66960"/>
                <a:gd name="connsiteX11" fmla="*/ 36898 w 67093"/>
                <a:gd name="connsiteY11" fmla="*/ 3759 h 66960"/>
                <a:gd name="connsiteX12" fmla="*/ 29230 w 67093"/>
                <a:gd name="connsiteY12" fmla="*/ 16527 h 66960"/>
                <a:gd name="connsiteX13" fmla="*/ 31786 w 67093"/>
                <a:gd name="connsiteY13" fmla="*/ 29295 h 66960"/>
                <a:gd name="connsiteX14" fmla="*/ 2393 w 67093"/>
                <a:gd name="connsiteY14" fmla="*/ 23549 h 66960"/>
                <a:gd name="connsiteX15" fmla="*/ 1115 w 67093"/>
                <a:gd name="connsiteY15" fmla="*/ 32487 h 66960"/>
                <a:gd name="connsiteX16" fmla="*/ 10700 w 67093"/>
                <a:gd name="connsiteY16" fmla="*/ 34402 h 66960"/>
                <a:gd name="connsiteX17" fmla="*/ 44566 w 67093"/>
                <a:gd name="connsiteY17" fmla="*/ 14612 h 66960"/>
                <a:gd name="connsiteX18" fmla="*/ 48400 w 67093"/>
                <a:gd name="connsiteY18" fmla="*/ 13335 h 66960"/>
                <a:gd name="connsiteX19" fmla="*/ 53512 w 67093"/>
                <a:gd name="connsiteY19" fmla="*/ 15888 h 66960"/>
                <a:gd name="connsiteX20" fmla="*/ 54790 w 67093"/>
                <a:gd name="connsiteY20" fmla="*/ 20996 h 66960"/>
                <a:gd name="connsiteX21" fmla="*/ 52234 w 67093"/>
                <a:gd name="connsiteY21" fmla="*/ 25464 h 66960"/>
                <a:gd name="connsiteX22" fmla="*/ 42649 w 67093"/>
                <a:gd name="connsiteY22" fmla="*/ 24188 h 66960"/>
                <a:gd name="connsiteX23" fmla="*/ 42649 w 67093"/>
                <a:gd name="connsiteY23" fmla="*/ 24188 h 66960"/>
                <a:gd name="connsiteX24" fmla="*/ 41371 w 67093"/>
                <a:gd name="connsiteY24" fmla="*/ 19080 h 66960"/>
                <a:gd name="connsiteX25" fmla="*/ 44566 w 67093"/>
                <a:gd name="connsiteY25" fmla="*/ 14612 h 6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7093" h="66960">
                  <a:moveTo>
                    <a:pt x="10700" y="34402"/>
                  </a:moveTo>
                  <a:cubicBezTo>
                    <a:pt x="12616" y="33125"/>
                    <a:pt x="19006" y="35040"/>
                    <a:pt x="24757" y="40148"/>
                  </a:cubicBezTo>
                  <a:cubicBezTo>
                    <a:pt x="31147" y="45893"/>
                    <a:pt x="34342" y="53554"/>
                    <a:pt x="32425" y="56746"/>
                  </a:cubicBezTo>
                  <a:cubicBezTo>
                    <a:pt x="30509" y="59938"/>
                    <a:pt x="31147" y="63768"/>
                    <a:pt x="34342" y="65684"/>
                  </a:cubicBezTo>
                  <a:cubicBezTo>
                    <a:pt x="35620" y="66322"/>
                    <a:pt x="36898" y="66960"/>
                    <a:pt x="37537" y="66960"/>
                  </a:cubicBezTo>
                  <a:cubicBezTo>
                    <a:pt x="39454" y="66960"/>
                    <a:pt x="42010" y="65684"/>
                    <a:pt x="42649" y="63768"/>
                  </a:cubicBezTo>
                  <a:cubicBezTo>
                    <a:pt x="47761" y="55469"/>
                    <a:pt x="44566" y="44616"/>
                    <a:pt x="37537" y="36317"/>
                  </a:cubicBezTo>
                  <a:cubicBezTo>
                    <a:pt x="40732" y="38232"/>
                    <a:pt x="43927" y="39509"/>
                    <a:pt x="47761" y="39509"/>
                  </a:cubicBezTo>
                  <a:cubicBezTo>
                    <a:pt x="51595" y="39509"/>
                    <a:pt x="55429" y="38232"/>
                    <a:pt x="59263" y="35679"/>
                  </a:cubicBezTo>
                  <a:cubicBezTo>
                    <a:pt x="63736" y="32487"/>
                    <a:pt x="66292" y="28018"/>
                    <a:pt x="66931" y="22911"/>
                  </a:cubicBezTo>
                  <a:cubicBezTo>
                    <a:pt x="67570" y="17804"/>
                    <a:pt x="66292" y="12696"/>
                    <a:pt x="63736" y="8228"/>
                  </a:cubicBezTo>
                  <a:cubicBezTo>
                    <a:pt x="57346" y="-710"/>
                    <a:pt x="45205" y="-2625"/>
                    <a:pt x="36898" y="3759"/>
                  </a:cubicBezTo>
                  <a:cubicBezTo>
                    <a:pt x="32425" y="6951"/>
                    <a:pt x="29869" y="11420"/>
                    <a:pt x="29230" y="16527"/>
                  </a:cubicBezTo>
                  <a:cubicBezTo>
                    <a:pt x="28591" y="20996"/>
                    <a:pt x="29230" y="25464"/>
                    <a:pt x="31786" y="29295"/>
                  </a:cubicBezTo>
                  <a:cubicBezTo>
                    <a:pt x="21562" y="20357"/>
                    <a:pt x="10061" y="18442"/>
                    <a:pt x="2393" y="23549"/>
                  </a:cubicBezTo>
                  <a:cubicBezTo>
                    <a:pt x="-163" y="25464"/>
                    <a:pt x="-802" y="29933"/>
                    <a:pt x="1115" y="32487"/>
                  </a:cubicBezTo>
                  <a:cubicBezTo>
                    <a:pt x="3671" y="35679"/>
                    <a:pt x="7505" y="36317"/>
                    <a:pt x="10700" y="34402"/>
                  </a:cubicBezTo>
                  <a:close/>
                  <a:moveTo>
                    <a:pt x="44566" y="14612"/>
                  </a:moveTo>
                  <a:cubicBezTo>
                    <a:pt x="45844" y="13973"/>
                    <a:pt x="47122" y="13335"/>
                    <a:pt x="48400" y="13335"/>
                  </a:cubicBezTo>
                  <a:cubicBezTo>
                    <a:pt x="50317" y="13335"/>
                    <a:pt x="52234" y="13973"/>
                    <a:pt x="53512" y="15888"/>
                  </a:cubicBezTo>
                  <a:cubicBezTo>
                    <a:pt x="54790" y="17165"/>
                    <a:pt x="54790" y="19080"/>
                    <a:pt x="54790" y="20996"/>
                  </a:cubicBezTo>
                  <a:cubicBezTo>
                    <a:pt x="54790" y="22911"/>
                    <a:pt x="53512" y="24188"/>
                    <a:pt x="52234" y="25464"/>
                  </a:cubicBezTo>
                  <a:cubicBezTo>
                    <a:pt x="49039" y="27380"/>
                    <a:pt x="45205" y="26741"/>
                    <a:pt x="42649" y="24188"/>
                  </a:cubicBezTo>
                  <a:lnTo>
                    <a:pt x="42649" y="24188"/>
                  </a:lnTo>
                  <a:cubicBezTo>
                    <a:pt x="41371" y="22911"/>
                    <a:pt x="41371" y="20996"/>
                    <a:pt x="41371" y="19080"/>
                  </a:cubicBezTo>
                  <a:cubicBezTo>
                    <a:pt x="42649" y="17165"/>
                    <a:pt x="43288" y="15250"/>
                    <a:pt x="44566" y="14612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Graphic 4">
              <a:extLst>
                <a:ext uri="{FF2B5EF4-FFF2-40B4-BE49-F238E27FC236}">
                  <a16:creationId xmlns:a16="http://schemas.microsoft.com/office/drawing/2014/main" id="{FDCEFC55-5D41-2100-BFCF-89E9C4B43DEB}"/>
                </a:ext>
              </a:extLst>
            </p:cNvPr>
            <p:cNvSpPr/>
            <p:nvPr/>
          </p:nvSpPr>
          <p:spPr>
            <a:xfrm>
              <a:off x="3735557" y="3944825"/>
              <a:ext cx="102238" cy="121934"/>
            </a:xfrm>
            <a:custGeom>
              <a:avLst/>
              <a:gdLst>
                <a:gd name="connsiteX0" fmla="*/ 102239 w 102238"/>
                <a:gd name="connsiteY0" fmla="*/ 23621 h 121934"/>
                <a:gd name="connsiteX1" fmla="*/ 100322 w 102238"/>
                <a:gd name="connsiteY1" fmla="*/ 19152 h 121934"/>
                <a:gd name="connsiteX2" fmla="*/ 95849 w 102238"/>
                <a:gd name="connsiteY2" fmla="*/ 17237 h 121934"/>
                <a:gd name="connsiteX3" fmla="*/ 73484 w 102238"/>
                <a:gd name="connsiteY3" fmla="*/ 13407 h 121934"/>
                <a:gd name="connsiteX4" fmla="*/ 56232 w 102238"/>
                <a:gd name="connsiteY4" fmla="*/ 1915 h 121934"/>
                <a:gd name="connsiteX5" fmla="*/ 51759 w 102238"/>
                <a:gd name="connsiteY5" fmla="*/ 0 h 121934"/>
                <a:gd name="connsiteX6" fmla="*/ 47286 w 102238"/>
                <a:gd name="connsiteY6" fmla="*/ 1915 h 121934"/>
                <a:gd name="connsiteX7" fmla="*/ 28755 w 102238"/>
                <a:gd name="connsiteY7" fmla="*/ 14045 h 121934"/>
                <a:gd name="connsiteX8" fmla="*/ 7029 w 102238"/>
                <a:gd name="connsiteY8" fmla="*/ 16599 h 121934"/>
                <a:gd name="connsiteX9" fmla="*/ 1917 w 102238"/>
                <a:gd name="connsiteY9" fmla="*/ 18514 h 121934"/>
                <a:gd name="connsiteX10" fmla="*/ 0 w 102238"/>
                <a:gd name="connsiteY10" fmla="*/ 23621 h 121934"/>
                <a:gd name="connsiteX11" fmla="*/ 639 w 102238"/>
                <a:gd name="connsiteY11" fmla="*/ 56179 h 121934"/>
                <a:gd name="connsiteX12" fmla="*/ 20448 w 102238"/>
                <a:gd name="connsiteY12" fmla="*/ 101505 h 121934"/>
                <a:gd name="connsiteX13" fmla="*/ 21087 w 102238"/>
                <a:gd name="connsiteY13" fmla="*/ 102144 h 121934"/>
                <a:gd name="connsiteX14" fmla="*/ 49842 w 102238"/>
                <a:gd name="connsiteY14" fmla="*/ 121296 h 121934"/>
                <a:gd name="connsiteX15" fmla="*/ 52398 w 102238"/>
                <a:gd name="connsiteY15" fmla="*/ 121934 h 121934"/>
                <a:gd name="connsiteX16" fmla="*/ 54954 w 102238"/>
                <a:gd name="connsiteY16" fmla="*/ 121296 h 121934"/>
                <a:gd name="connsiteX17" fmla="*/ 81792 w 102238"/>
                <a:gd name="connsiteY17" fmla="*/ 102144 h 121934"/>
                <a:gd name="connsiteX18" fmla="*/ 85625 w 102238"/>
                <a:gd name="connsiteY18" fmla="*/ 97675 h 121934"/>
                <a:gd name="connsiteX19" fmla="*/ 101600 w 102238"/>
                <a:gd name="connsiteY19" fmla="*/ 54902 h 121934"/>
                <a:gd name="connsiteX20" fmla="*/ 101600 w 102238"/>
                <a:gd name="connsiteY20" fmla="*/ 23621 h 121934"/>
                <a:gd name="connsiteX21" fmla="*/ 89459 w 102238"/>
                <a:gd name="connsiteY21" fmla="*/ 56179 h 121934"/>
                <a:gd name="connsiteX22" fmla="*/ 76679 w 102238"/>
                <a:gd name="connsiteY22" fmla="*/ 90014 h 121934"/>
                <a:gd name="connsiteX23" fmla="*/ 73484 w 102238"/>
                <a:gd name="connsiteY23" fmla="*/ 93845 h 121934"/>
                <a:gd name="connsiteX24" fmla="*/ 52398 w 102238"/>
                <a:gd name="connsiteY24" fmla="*/ 109166 h 121934"/>
                <a:gd name="connsiteX25" fmla="*/ 29394 w 102238"/>
                <a:gd name="connsiteY25" fmla="*/ 93206 h 121934"/>
                <a:gd name="connsiteX26" fmla="*/ 28755 w 102238"/>
                <a:gd name="connsiteY26" fmla="*/ 92568 h 121934"/>
                <a:gd name="connsiteX27" fmla="*/ 13419 w 102238"/>
                <a:gd name="connsiteY27" fmla="*/ 56179 h 121934"/>
                <a:gd name="connsiteX28" fmla="*/ 12780 w 102238"/>
                <a:gd name="connsiteY28" fmla="*/ 30005 h 121934"/>
                <a:gd name="connsiteX29" fmla="*/ 33228 w 102238"/>
                <a:gd name="connsiteY29" fmla="*/ 26175 h 121934"/>
                <a:gd name="connsiteX30" fmla="*/ 51759 w 102238"/>
                <a:gd name="connsiteY30" fmla="*/ 14683 h 121934"/>
                <a:gd name="connsiteX31" fmla="*/ 68372 w 102238"/>
                <a:gd name="connsiteY31" fmla="*/ 24259 h 121934"/>
                <a:gd name="connsiteX32" fmla="*/ 89459 w 102238"/>
                <a:gd name="connsiteY32" fmla="*/ 28728 h 121934"/>
                <a:gd name="connsiteX33" fmla="*/ 89459 w 102238"/>
                <a:gd name="connsiteY33" fmla="*/ 56179 h 121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02238" h="121934">
                  <a:moveTo>
                    <a:pt x="102239" y="23621"/>
                  </a:moveTo>
                  <a:cubicBezTo>
                    <a:pt x="102239" y="21706"/>
                    <a:pt x="101600" y="20429"/>
                    <a:pt x="100322" y="19152"/>
                  </a:cubicBezTo>
                  <a:cubicBezTo>
                    <a:pt x="99044" y="17875"/>
                    <a:pt x="97127" y="17237"/>
                    <a:pt x="95849" y="17237"/>
                  </a:cubicBezTo>
                  <a:cubicBezTo>
                    <a:pt x="88181" y="17875"/>
                    <a:pt x="80513" y="16599"/>
                    <a:pt x="73484" y="13407"/>
                  </a:cubicBezTo>
                  <a:cubicBezTo>
                    <a:pt x="67094" y="10853"/>
                    <a:pt x="61344" y="7023"/>
                    <a:pt x="56232" y="1915"/>
                  </a:cubicBezTo>
                  <a:cubicBezTo>
                    <a:pt x="54954" y="639"/>
                    <a:pt x="53676" y="0"/>
                    <a:pt x="51759" y="0"/>
                  </a:cubicBezTo>
                  <a:cubicBezTo>
                    <a:pt x="49842" y="0"/>
                    <a:pt x="48564" y="639"/>
                    <a:pt x="47286" y="1915"/>
                  </a:cubicBezTo>
                  <a:cubicBezTo>
                    <a:pt x="43452" y="5746"/>
                    <a:pt x="37701" y="10853"/>
                    <a:pt x="28755" y="14045"/>
                  </a:cubicBezTo>
                  <a:cubicBezTo>
                    <a:pt x="19809" y="17237"/>
                    <a:pt x="12141" y="17237"/>
                    <a:pt x="7029" y="16599"/>
                  </a:cubicBezTo>
                  <a:cubicBezTo>
                    <a:pt x="5112" y="16599"/>
                    <a:pt x="3195" y="17237"/>
                    <a:pt x="1917" y="18514"/>
                  </a:cubicBezTo>
                  <a:cubicBezTo>
                    <a:pt x="639" y="19791"/>
                    <a:pt x="0" y="21706"/>
                    <a:pt x="0" y="23621"/>
                  </a:cubicBezTo>
                  <a:lnTo>
                    <a:pt x="639" y="56179"/>
                  </a:lnTo>
                  <a:cubicBezTo>
                    <a:pt x="639" y="73416"/>
                    <a:pt x="8307" y="90014"/>
                    <a:pt x="20448" y="101505"/>
                  </a:cubicBezTo>
                  <a:lnTo>
                    <a:pt x="21087" y="102144"/>
                  </a:lnTo>
                  <a:cubicBezTo>
                    <a:pt x="29394" y="109805"/>
                    <a:pt x="39618" y="116827"/>
                    <a:pt x="49842" y="121296"/>
                  </a:cubicBezTo>
                  <a:cubicBezTo>
                    <a:pt x="50481" y="121934"/>
                    <a:pt x="51759" y="121934"/>
                    <a:pt x="52398" y="121934"/>
                  </a:cubicBezTo>
                  <a:cubicBezTo>
                    <a:pt x="53676" y="121934"/>
                    <a:pt x="54314" y="121934"/>
                    <a:pt x="54954" y="121296"/>
                  </a:cubicBezTo>
                  <a:cubicBezTo>
                    <a:pt x="65177" y="116189"/>
                    <a:pt x="74124" y="109805"/>
                    <a:pt x="81792" y="102144"/>
                  </a:cubicBezTo>
                  <a:cubicBezTo>
                    <a:pt x="83069" y="100867"/>
                    <a:pt x="84347" y="99590"/>
                    <a:pt x="85625" y="97675"/>
                  </a:cubicBezTo>
                  <a:cubicBezTo>
                    <a:pt x="95849" y="86184"/>
                    <a:pt x="101600" y="70862"/>
                    <a:pt x="101600" y="54902"/>
                  </a:cubicBezTo>
                  <a:lnTo>
                    <a:pt x="101600" y="23621"/>
                  </a:lnTo>
                  <a:close/>
                  <a:moveTo>
                    <a:pt x="89459" y="56179"/>
                  </a:moveTo>
                  <a:cubicBezTo>
                    <a:pt x="89459" y="68947"/>
                    <a:pt x="84986" y="81077"/>
                    <a:pt x="76679" y="90014"/>
                  </a:cubicBezTo>
                  <a:cubicBezTo>
                    <a:pt x="75402" y="91291"/>
                    <a:pt x="74762" y="92568"/>
                    <a:pt x="73484" y="93845"/>
                  </a:cubicBezTo>
                  <a:cubicBezTo>
                    <a:pt x="67094" y="100229"/>
                    <a:pt x="60066" y="105336"/>
                    <a:pt x="52398" y="109166"/>
                  </a:cubicBezTo>
                  <a:cubicBezTo>
                    <a:pt x="44091" y="105336"/>
                    <a:pt x="36423" y="99590"/>
                    <a:pt x="29394" y="93206"/>
                  </a:cubicBezTo>
                  <a:lnTo>
                    <a:pt x="28755" y="92568"/>
                  </a:lnTo>
                  <a:cubicBezTo>
                    <a:pt x="19170" y="83630"/>
                    <a:pt x="13419" y="70224"/>
                    <a:pt x="13419" y="56179"/>
                  </a:cubicBezTo>
                  <a:lnTo>
                    <a:pt x="12780" y="30005"/>
                  </a:lnTo>
                  <a:cubicBezTo>
                    <a:pt x="19809" y="30005"/>
                    <a:pt x="26838" y="28728"/>
                    <a:pt x="33228" y="26175"/>
                  </a:cubicBezTo>
                  <a:cubicBezTo>
                    <a:pt x="40257" y="23621"/>
                    <a:pt x="46647" y="19791"/>
                    <a:pt x="51759" y="14683"/>
                  </a:cubicBezTo>
                  <a:cubicBezTo>
                    <a:pt x="56871" y="18514"/>
                    <a:pt x="62622" y="22344"/>
                    <a:pt x="68372" y="24259"/>
                  </a:cubicBezTo>
                  <a:cubicBezTo>
                    <a:pt x="74762" y="26813"/>
                    <a:pt x="81792" y="28728"/>
                    <a:pt x="89459" y="28728"/>
                  </a:cubicBezTo>
                  <a:lnTo>
                    <a:pt x="89459" y="56179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Graphic 4">
              <a:extLst>
                <a:ext uri="{FF2B5EF4-FFF2-40B4-BE49-F238E27FC236}">
                  <a16:creationId xmlns:a16="http://schemas.microsoft.com/office/drawing/2014/main" id="{63DA0B2A-4272-2371-C64E-AFDD5005ACF4}"/>
                </a:ext>
              </a:extLst>
            </p:cNvPr>
            <p:cNvSpPr/>
            <p:nvPr/>
          </p:nvSpPr>
          <p:spPr>
            <a:xfrm>
              <a:off x="3762874" y="3988236"/>
              <a:ext cx="46966" cy="41495"/>
            </a:xfrm>
            <a:custGeom>
              <a:avLst/>
              <a:gdLst>
                <a:gd name="connsiteX0" fmla="*/ 26358 w 46966"/>
                <a:gd name="connsiteY0" fmla="*/ 3831 h 41495"/>
                <a:gd name="connsiteX1" fmla="*/ 23163 w 46966"/>
                <a:gd name="connsiteY1" fmla="*/ 7023 h 41495"/>
                <a:gd name="connsiteX2" fmla="*/ 19968 w 46966"/>
                <a:gd name="connsiteY2" fmla="*/ 3831 h 41495"/>
                <a:gd name="connsiteX3" fmla="*/ 11662 w 46966"/>
                <a:gd name="connsiteY3" fmla="*/ 0 h 41495"/>
                <a:gd name="connsiteX4" fmla="*/ 3355 w 46966"/>
                <a:gd name="connsiteY4" fmla="*/ 3831 h 41495"/>
                <a:gd name="connsiteX5" fmla="*/ 3355 w 46966"/>
                <a:gd name="connsiteY5" fmla="*/ 21067 h 41495"/>
                <a:gd name="connsiteX6" fmla="*/ 21885 w 46966"/>
                <a:gd name="connsiteY6" fmla="*/ 40858 h 41495"/>
                <a:gd name="connsiteX7" fmla="*/ 23163 w 46966"/>
                <a:gd name="connsiteY7" fmla="*/ 41496 h 41495"/>
                <a:gd name="connsiteX8" fmla="*/ 23163 w 46966"/>
                <a:gd name="connsiteY8" fmla="*/ 41496 h 41495"/>
                <a:gd name="connsiteX9" fmla="*/ 23163 w 46966"/>
                <a:gd name="connsiteY9" fmla="*/ 41496 h 41495"/>
                <a:gd name="connsiteX10" fmla="*/ 24441 w 46966"/>
                <a:gd name="connsiteY10" fmla="*/ 40858 h 41495"/>
                <a:gd name="connsiteX11" fmla="*/ 39138 w 46966"/>
                <a:gd name="connsiteY11" fmla="*/ 25536 h 41495"/>
                <a:gd name="connsiteX12" fmla="*/ 43611 w 46966"/>
                <a:gd name="connsiteY12" fmla="*/ 21067 h 41495"/>
                <a:gd name="connsiteX13" fmla="*/ 43611 w 46966"/>
                <a:gd name="connsiteY13" fmla="*/ 3831 h 41495"/>
                <a:gd name="connsiteX14" fmla="*/ 35304 w 46966"/>
                <a:gd name="connsiteY14" fmla="*/ 0 h 41495"/>
                <a:gd name="connsiteX15" fmla="*/ 26358 w 46966"/>
                <a:gd name="connsiteY15" fmla="*/ 3831 h 41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6966" h="41495">
                  <a:moveTo>
                    <a:pt x="26358" y="3831"/>
                  </a:moveTo>
                  <a:lnTo>
                    <a:pt x="23163" y="7023"/>
                  </a:lnTo>
                  <a:lnTo>
                    <a:pt x="19968" y="3831"/>
                  </a:lnTo>
                  <a:cubicBezTo>
                    <a:pt x="17412" y="1277"/>
                    <a:pt x="14857" y="0"/>
                    <a:pt x="11662" y="0"/>
                  </a:cubicBezTo>
                  <a:cubicBezTo>
                    <a:pt x="8467" y="0"/>
                    <a:pt x="5272" y="1277"/>
                    <a:pt x="3355" y="3831"/>
                  </a:cubicBezTo>
                  <a:cubicBezTo>
                    <a:pt x="-1118" y="8938"/>
                    <a:pt x="-1118" y="16599"/>
                    <a:pt x="3355" y="21067"/>
                  </a:cubicBezTo>
                  <a:lnTo>
                    <a:pt x="21885" y="40858"/>
                  </a:lnTo>
                  <a:cubicBezTo>
                    <a:pt x="21885" y="41496"/>
                    <a:pt x="22525" y="41496"/>
                    <a:pt x="23163" y="41496"/>
                  </a:cubicBezTo>
                  <a:cubicBezTo>
                    <a:pt x="23163" y="41496"/>
                    <a:pt x="23163" y="41496"/>
                    <a:pt x="23163" y="41496"/>
                  </a:cubicBezTo>
                  <a:cubicBezTo>
                    <a:pt x="23163" y="41496"/>
                    <a:pt x="23163" y="41496"/>
                    <a:pt x="23163" y="41496"/>
                  </a:cubicBezTo>
                  <a:cubicBezTo>
                    <a:pt x="23802" y="41496"/>
                    <a:pt x="23802" y="41496"/>
                    <a:pt x="24441" y="40858"/>
                  </a:cubicBezTo>
                  <a:lnTo>
                    <a:pt x="39138" y="25536"/>
                  </a:lnTo>
                  <a:lnTo>
                    <a:pt x="43611" y="21067"/>
                  </a:lnTo>
                  <a:cubicBezTo>
                    <a:pt x="48084" y="15960"/>
                    <a:pt x="48084" y="8299"/>
                    <a:pt x="43611" y="3831"/>
                  </a:cubicBezTo>
                  <a:cubicBezTo>
                    <a:pt x="41055" y="1277"/>
                    <a:pt x="38499" y="0"/>
                    <a:pt x="35304" y="0"/>
                  </a:cubicBezTo>
                  <a:cubicBezTo>
                    <a:pt x="32109" y="0"/>
                    <a:pt x="28915" y="1277"/>
                    <a:pt x="26358" y="383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2D14A8DC-8918-17A9-1E7C-7AA7ABEFDCB4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b="0" noProof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b="0" noProof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CE0E4DB-7532-712D-85ED-13F4C90856B4}"/>
              </a:ext>
            </a:extLst>
          </p:cNvPr>
          <p:cNvSpPr txBox="1"/>
          <p:nvPr userDrawn="1"/>
        </p:nvSpPr>
        <p:spPr>
          <a:xfrm>
            <a:off x="6485817" y="6477001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LASSIFICATION: CONFIDENTIAL – FOR INTERNAL USE ONLY</a:t>
            </a:r>
            <a:endParaRPr lang="en-US" sz="800" b="0" noProof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A67A73-0E96-85E6-C123-BB420C889E03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0" algn="r">
              <a:spcBef>
                <a:spcPts val="0"/>
              </a:spcBef>
              <a:buSzPct val="100000"/>
              <a:buFont typeface="Arial"/>
              <a:buNone/>
              <a:defRPr sz="900" b="0" i="0" u="none" strike="noStrik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/>
            <a:r>
              <a:rPr lang="en-US" sz="800" b="0">
                <a:solidFill>
                  <a:schemeClr val="bg1"/>
                </a:solidFill>
              </a:rPr>
              <a:t>Copyright © 2025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32428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1 Accessibl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BE4AF21-179D-ABD9-7899-58C9D6DE3311}"/>
              </a:ext>
            </a:extLst>
          </p:cNvPr>
          <p:cNvSpPr/>
          <p:nvPr userDrawn="1"/>
        </p:nvSpPr>
        <p:spPr bwMode="gray">
          <a:xfrm>
            <a:off x="10129608" y="471593"/>
            <a:ext cx="1662342" cy="35782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0" bIns="88900" rtlCol="0" anchor="ctr"/>
          <a:lstStyle/>
          <a:p>
            <a:pPr>
              <a:buFont typeface="Wingdings 2" pitchFamily="18" charset="2"/>
              <a:buNone/>
            </a:pPr>
            <a:r>
              <a:rPr lang="en-US" sz="1000" b="1">
                <a:solidFill>
                  <a:schemeClr val="bg1"/>
                </a:solidFill>
              </a:rPr>
              <a:t>DELIVER THE VALUE OF TECH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DB91228-67BC-7A2C-C346-EDC4392F0296}"/>
              </a:ext>
            </a:extLst>
          </p:cNvPr>
          <p:cNvSpPr/>
          <p:nvPr/>
        </p:nvSpPr>
        <p:spPr bwMode="gray">
          <a:xfrm rot="2700000">
            <a:off x="9476537" y="382236"/>
            <a:ext cx="536532" cy="536532"/>
          </a:xfrm>
          <a:prstGeom prst="rect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grpSp>
        <p:nvGrpSpPr>
          <p:cNvPr id="39" name="Graphic 4">
            <a:extLst>
              <a:ext uri="{FF2B5EF4-FFF2-40B4-BE49-F238E27FC236}">
                <a16:creationId xmlns:a16="http://schemas.microsoft.com/office/drawing/2014/main" id="{1F9C2491-09BC-6ABB-4301-2B2D649C9E99}"/>
              </a:ext>
            </a:extLst>
          </p:cNvPr>
          <p:cNvGrpSpPr/>
          <p:nvPr/>
        </p:nvGrpSpPr>
        <p:grpSpPr>
          <a:xfrm>
            <a:off x="9571067" y="476766"/>
            <a:ext cx="347472" cy="347472"/>
            <a:chOff x="3607758" y="3824806"/>
            <a:chExt cx="361674" cy="361333"/>
          </a:xfrm>
          <a:solidFill>
            <a:schemeClr val="bg1"/>
          </a:solidFill>
        </p:grpSpPr>
        <p:sp>
          <p:nvSpPr>
            <p:cNvPr id="40" name="Graphic 4">
              <a:extLst>
                <a:ext uri="{FF2B5EF4-FFF2-40B4-BE49-F238E27FC236}">
                  <a16:creationId xmlns:a16="http://schemas.microsoft.com/office/drawing/2014/main" id="{38D0C989-4336-686F-832A-070B9C5CB8EA}"/>
                </a:ext>
              </a:extLst>
            </p:cNvPr>
            <p:cNvSpPr/>
            <p:nvPr/>
          </p:nvSpPr>
          <p:spPr>
            <a:xfrm>
              <a:off x="3607758" y="3824806"/>
              <a:ext cx="361674" cy="361333"/>
            </a:xfrm>
            <a:custGeom>
              <a:avLst/>
              <a:gdLst>
                <a:gd name="connsiteX0" fmla="*/ 180836 w 361674"/>
                <a:gd name="connsiteY0" fmla="*/ 12130 h 361333"/>
                <a:gd name="connsiteX1" fmla="*/ 12780 w 361674"/>
                <a:gd name="connsiteY1" fmla="*/ 180028 h 361333"/>
                <a:gd name="connsiteX2" fmla="*/ 180836 w 361674"/>
                <a:gd name="connsiteY2" fmla="*/ 347927 h 361333"/>
                <a:gd name="connsiteX3" fmla="*/ 348891 w 361674"/>
                <a:gd name="connsiteY3" fmla="*/ 180028 h 361333"/>
                <a:gd name="connsiteX4" fmla="*/ 180836 w 361674"/>
                <a:gd name="connsiteY4" fmla="*/ 12130 h 361333"/>
                <a:gd name="connsiteX5" fmla="*/ 180836 w 361674"/>
                <a:gd name="connsiteY5" fmla="*/ 361333 h 361333"/>
                <a:gd name="connsiteX6" fmla="*/ 0 w 361674"/>
                <a:gd name="connsiteY6" fmla="*/ 180667 h 361333"/>
                <a:gd name="connsiteX7" fmla="*/ 180836 w 361674"/>
                <a:gd name="connsiteY7" fmla="*/ 0 h 361333"/>
                <a:gd name="connsiteX8" fmla="*/ 361671 w 361674"/>
                <a:gd name="connsiteY8" fmla="*/ 180667 h 361333"/>
                <a:gd name="connsiteX9" fmla="*/ 180836 w 361674"/>
                <a:gd name="connsiteY9" fmla="*/ 361333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4" h="361333">
                  <a:moveTo>
                    <a:pt x="180836" y="12130"/>
                  </a:moveTo>
                  <a:cubicBezTo>
                    <a:pt x="88181" y="12130"/>
                    <a:pt x="12780" y="87461"/>
                    <a:pt x="12780" y="180028"/>
                  </a:cubicBezTo>
                  <a:cubicBezTo>
                    <a:pt x="12780" y="272596"/>
                    <a:pt x="88181" y="347927"/>
                    <a:pt x="180836" y="347927"/>
                  </a:cubicBezTo>
                  <a:cubicBezTo>
                    <a:pt x="273490" y="347927"/>
                    <a:pt x="348891" y="272596"/>
                    <a:pt x="348891" y="180028"/>
                  </a:cubicBezTo>
                  <a:cubicBezTo>
                    <a:pt x="349530" y="87461"/>
                    <a:pt x="274128" y="12130"/>
                    <a:pt x="180836" y="12130"/>
                  </a:cubicBezTo>
                  <a:moveTo>
                    <a:pt x="180836" y="361333"/>
                  </a:moveTo>
                  <a:cubicBezTo>
                    <a:pt x="81152" y="361333"/>
                    <a:pt x="0" y="280257"/>
                    <a:pt x="0" y="180667"/>
                  </a:cubicBezTo>
                  <a:cubicBezTo>
                    <a:pt x="0" y="81077"/>
                    <a:pt x="81152" y="0"/>
                    <a:pt x="180836" y="0"/>
                  </a:cubicBezTo>
                  <a:cubicBezTo>
                    <a:pt x="280518" y="0"/>
                    <a:pt x="361671" y="81077"/>
                    <a:pt x="361671" y="180667"/>
                  </a:cubicBezTo>
                  <a:cubicBezTo>
                    <a:pt x="362310" y="280257"/>
                    <a:pt x="281157" y="361333"/>
                    <a:pt x="180836" y="361333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Graphic 4">
              <a:extLst>
                <a:ext uri="{FF2B5EF4-FFF2-40B4-BE49-F238E27FC236}">
                  <a16:creationId xmlns:a16="http://schemas.microsoft.com/office/drawing/2014/main" id="{118D44F7-DA97-84D7-8AF5-E0A690FA1FFC}"/>
                </a:ext>
              </a:extLst>
            </p:cNvPr>
            <p:cNvSpPr/>
            <p:nvPr/>
          </p:nvSpPr>
          <p:spPr>
            <a:xfrm>
              <a:off x="3709358" y="4015687"/>
              <a:ext cx="12779" cy="33196"/>
            </a:xfrm>
            <a:custGeom>
              <a:avLst/>
              <a:gdLst>
                <a:gd name="connsiteX0" fmla="*/ 6390 w 12779"/>
                <a:gd name="connsiteY0" fmla="*/ 33196 h 33196"/>
                <a:gd name="connsiteX1" fmla="*/ 0 w 12779"/>
                <a:gd name="connsiteY1" fmla="*/ 26812 h 33196"/>
                <a:gd name="connsiteX2" fmla="*/ 0 w 12779"/>
                <a:gd name="connsiteY2" fmla="*/ 6384 h 33196"/>
                <a:gd name="connsiteX3" fmla="*/ 6390 w 12779"/>
                <a:gd name="connsiteY3" fmla="*/ 0 h 33196"/>
                <a:gd name="connsiteX4" fmla="*/ 12780 w 12779"/>
                <a:gd name="connsiteY4" fmla="*/ 6384 h 33196"/>
                <a:gd name="connsiteX5" fmla="*/ 12780 w 12779"/>
                <a:gd name="connsiteY5" fmla="*/ 26812 h 33196"/>
                <a:gd name="connsiteX6" fmla="*/ 6390 w 12779"/>
                <a:gd name="connsiteY6" fmla="*/ 33196 h 33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33196">
                  <a:moveTo>
                    <a:pt x="6390" y="33196"/>
                  </a:moveTo>
                  <a:cubicBezTo>
                    <a:pt x="2556" y="33196"/>
                    <a:pt x="0" y="30643"/>
                    <a:pt x="0" y="26812"/>
                  </a:cubicBezTo>
                  <a:lnTo>
                    <a:pt x="0" y="6384"/>
                  </a:lnTo>
                  <a:cubicBezTo>
                    <a:pt x="0" y="2553"/>
                    <a:pt x="2556" y="0"/>
                    <a:pt x="6390" y="0"/>
                  </a:cubicBezTo>
                  <a:cubicBezTo>
                    <a:pt x="10224" y="0"/>
                    <a:pt x="12780" y="2553"/>
                    <a:pt x="12780" y="6384"/>
                  </a:cubicBezTo>
                  <a:lnTo>
                    <a:pt x="12780" y="26812"/>
                  </a:lnTo>
                  <a:cubicBezTo>
                    <a:pt x="12780" y="30004"/>
                    <a:pt x="10224" y="33196"/>
                    <a:pt x="6390" y="33196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Graphic 4">
              <a:extLst>
                <a:ext uri="{FF2B5EF4-FFF2-40B4-BE49-F238E27FC236}">
                  <a16:creationId xmlns:a16="http://schemas.microsoft.com/office/drawing/2014/main" id="{D98B0313-34CB-7453-D957-D20B1815B342}"/>
                </a:ext>
              </a:extLst>
            </p:cNvPr>
            <p:cNvSpPr/>
            <p:nvPr/>
          </p:nvSpPr>
          <p:spPr>
            <a:xfrm>
              <a:off x="3675491" y="3915459"/>
              <a:ext cx="226842" cy="157045"/>
            </a:xfrm>
            <a:custGeom>
              <a:avLst/>
              <a:gdLst>
                <a:gd name="connsiteX0" fmla="*/ 28755 w 226842"/>
                <a:gd name="connsiteY0" fmla="*/ 13406 h 157045"/>
                <a:gd name="connsiteX1" fmla="*/ 12780 w 226842"/>
                <a:gd name="connsiteY1" fmla="*/ 29366 h 157045"/>
                <a:gd name="connsiteX2" fmla="*/ 12780 w 226842"/>
                <a:gd name="connsiteY2" fmla="*/ 128957 h 157045"/>
                <a:gd name="connsiteX3" fmla="*/ 28755 w 226842"/>
                <a:gd name="connsiteY3" fmla="*/ 144916 h 157045"/>
                <a:gd name="connsiteX4" fmla="*/ 198088 w 226842"/>
                <a:gd name="connsiteY4" fmla="*/ 144916 h 157045"/>
                <a:gd name="connsiteX5" fmla="*/ 214063 w 226842"/>
                <a:gd name="connsiteY5" fmla="*/ 128957 h 157045"/>
                <a:gd name="connsiteX6" fmla="*/ 214063 w 226842"/>
                <a:gd name="connsiteY6" fmla="*/ 29366 h 157045"/>
                <a:gd name="connsiteX7" fmla="*/ 198088 w 226842"/>
                <a:gd name="connsiteY7" fmla="*/ 13406 h 157045"/>
                <a:gd name="connsiteX8" fmla="*/ 28755 w 226842"/>
                <a:gd name="connsiteY8" fmla="*/ 13406 h 157045"/>
                <a:gd name="connsiteX9" fmla="*/ 198088 w 226842"/>
                <a:gd name="connsiteY9" fmla="*/ 157046 h 157045"/>
                <a:gd name="connsiteX10" fmla="*/ 28755 w 226842"/>
                <a:gd name="connsiteY10" fmla="*/ 157046 h 157045"/>
                <a:gd name="connsiteX11" fmla="*/ 0 w 226842"/>
                <a:gd name="connsiteY11" fmla="*/ 128318 h 157045"/>
                <a:gd name="connsiteX12" fmla="*/ 0 w 226842"/>
                <a:gd name="connsiteY12" fmla="*/ 28728 h 157045"/>
                <a:gd name="connsiteX13" fmla="*/ 28755 w 226842"/>
                <a:gd name="connsiteY13" fmla="*/ 0 h 157045"/>
                <a:gd name="connsiteX14" fmla="*/ 198088 w 226842"/>
                <a:gd name="connsiteY14" fmla="*/ 0 h 157045"/>
                <a:gd name="connsiteX15" fmla="*/ 226843 w 226842"/>
                <a:gd name="connsiteY15" fmla="*/ 28728 h 157045"/>
                <a:gd name="connsiteX16" fmla="*/ 226843 w 226842"/>
                <a:gd name="connsiteY16" fmla="*/ 128318 h 157045"/>
                <a:gd name="connsiteX17" fmla="*/ 198088 w 226842"/>
                <a:gd name="connsiteY17" fmla="*/ 157046 h 157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6842" h="157045">
                  <a:moveTo>
                    <a:pt x="28755" y="13406"/>
                  </a:moveTo>
                  <a:cubicBezTo>
                    <a:pt x="19809" y="13406"/>
                    <a:pt x="12780" y="20429"/>
                    <a:pt x="12780" y="29366"/>
                  </a:cubicBezTo>
                  <a:lnTo>
                    <a:pt x="12780" y="128957"/>
                  </a:lnTo>
                  <a:cubicBezTo>
                    <a:pt x="12780" y="137256"/>
                    <a:pt x="19809" y="144916"/>
                    <a:pt x="28755" y="144916"/>
                  </a:cubicBezTo>
                  <a:lnTo>
                    <a:pt x="198088" y="144916"/>
                  </a:lnTo>
                  <a:cubicBezTo>
                    <a:pt x="207034" y="144916"/>
                    <a:pt x="214063" y="137894"/>
                    <a:pt x="214063" y="128957"/>
                  </a:cubicBezTo>
                  <a:lnTo>
                    <a:pt x="214063" y="29366"/>
                  </a:lnTo>
                  <a:cubicBezTo>
                    <a:pt x="214063" y="20429"/>
                    <a:pt x="207034" y="13406"/>
                    <a:pt x="198088" y="13406"/>
                  </a:cubicBezTo>
                  <a:lnTo>
                    <a:pt x="28755" y="13406"/>
                  </a:lnTo>
                  <a:close/>
                  <a:moveTo>
                    <a:pt x="198088" y="157046"/>
                  </a:moveTo>
                  <a:lnTo>
                    <a:pt x="28755" y="157046"/>
                  </a:lnTo>
                  <a:cubicBezTo>
                    <a:pt x="12780" y="157046"/>
                    <a:pt x="0" y="144278"/>
                    <a:pt x="0" y="128318"/>
                  </a:cubicBezTo>
                  <a:lnTo>
                    <a:pt x="0" y="28728"/>
                  </a:lnTo>
                  <a:cubicBezTo>
                    <a:pt x="0" y="12768"/>
                    <a:pt x="12780" y="0"/>
                    <a:pt x="28755" y="0"/>
                  </a:cubicBezTo>
                  <a:lnTo>
                    <a:pt x="198088" y="0"/>
                  </a:lnTo>
                  <a:cubicBezTo>
                    <a:pt x="214063" y="0"/>
                    <a:pt x="226843" y="12768"/>
                    <a:pt x="226843" y="28728"/>
                  </a:cubicBezTo>
                  <a:lnTo>
                    <a:pt x="226843" y="128318"/>
                  </a:lnTo>
                  <a:cubicBezTo>
                    <a:pt x="226843" y="144278"/>
                    <a:pt x="214063" y="157046"/>
                    <a:pt x="198088" y="157046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Graphic 4">
              <a:extLst>
                <a:ext uri="{FF2B5EF4-FFF2-40B4-BE49-F238E27FC236}">
                  <a16:creationId xmlns:a16="http://schemas.microsoft.com/office/drawing/2014/main" id="{0E6D8071-A86E-7F34-3297-26E2B2A13C43}"/>
                </a:ext>
              </a:extLst>
            </p:cNvPr>
            <p:cNvSpPr/>
            <p:nvPr/>
          </p:nvSpPr>
          <p:spPr>
            <a:xfrm>
              <a:off x="3824377" y="3988874"/>
              <a:ext cx="12779" cy="61924"/>
            </a:xfrm>
            <a:custGeom>
              <a:avLst/>
              <a:gdLst>
                <a:gd name="connsiteX0" fmla="*/ 6390 w 12779"/>
                <a:gd name="connsiteY0" fmla="*/ 61925 h 61924"/>
                <a:gd name="connsiteX1" fmla="*/ 0 w 12779"/>
                <a:gd name="connsiteY1" fmla="*/ 55541 h 61924"/>
                <a:gd name="connsiteX2" fmla="*/ 0 w 12779"/>
                <a:gd name="connsiteY2" fmla="*/ 6384 h 61924"/>
                <a:gd name="connsiteX3" fmla="*/ 6390 w 12779"/>
                <a:gd name="connsiteY3" fmla="*/ 0 h 61924"/>
                <a:gd name="connsiteX4" fmla="*/ 12780 w 12779"/>
                <a:gd name="connsiteY4" fmla="*/ 6384 h 61924"/>
                <a:gd name="connsiteX5" fmla="*/ 12780 w 12779"/>
                <a:gd name="connsiteY5" fmla="*/ 55541 h 61924"/>
                <a:gd name="connsiteX6" fmla="*/ 6390 w 12779"/>
                <a:gd name="connsiteY6" fmla="*/ 61925 h 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61924">
                  <a:moveTo>
                    <a:pt x="6390" y="61925"/>
                  </a:moveTo>
                  <a:cubicBezTo>
                    <a:pt x="2556" y="61925"/>
                    <a:pt x="0" y="59371"/>
                    <a:pt x="0" y="55541"/>
                  </a:cubicBezTo>
                  <a:lnTo>
                    <a:pt x="0" y="6384"/>
                  </a:lnTo>
                  <a:cubicBezTo>
                    <a:pt x="0" y="2553"/>
                    <a:pt x="2556" y="0"/>
                    <a:pt x="6390" y="0"/>
                  </a:cubicBezTo>
                  <a:cubicBezTo>
                    <a:pt x="10224" y="0"/>
                    <a:pt x="12780" y="2553"/>
                    <a:pt x="12780" y="6384"/>
                  </a:cubicBezTo>
                  <a:lnTo>
                    <a:pt x="12780" y="55541"/>
                  </a:lnTo>
                  <a:cubicBezTo>
                    <a:pt x="12780" y="59371"/>
                    <a:pt x="9585" y="61925"/>
                    <a:pt x="6390" y="61925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Graphic 4">
              <a:extLst>
                <a:ext uri="{FF2B5EF4-FFF2-40B4-BE49-F238E27FC236}">
                  <a16:creationId xmlns:a16="http://schemas.microsoft.com/office/drawing/2014/main" id="{343833A2-D4CB-FEE3-32EC-B7E7B2956A13}"/>
                </a:ext>
              </a:extLst>
            </p:cNvPr>
            <p:cNvSpPr/>
            <p:nvPr/>
          </p:nvSpPr>
          <p:spPr>
            <a:xfrm>
              <a:off x="3853132" y="3974829"/>
              <a:ext cx="12779" cy="75969"/>
            </a:xfrm>
            <a:custGeom>
              <a:avLst/>
              <a:gdLst>
                <a:gd name="connsiteX0" fmla="*/ 6390 w 12779"/>
                <a:gd name="connsiteY0" fmla="*/ 75970 h 75969"/>
                <a:gd name="connsiteX1" fmla="*/ 0 w 12779"/>
                <a:gd name="connsiteY1" fmla="*/ 69586 h 75969"/>
                <a:gd name="connsiteX2" fmla="*/ 0 w 12779"/>
                <a:gd name="connsiteY2" fmla="*/ 6384 h 75969"/>
                <a:gd name="connsiteX3" fmla="*/ 6390 w 12779"/>
                <a:gd name="connsiteY3" fmla="*/ 0 h 75969"/>
                <a:gd name="connsiteX4" fmla="*/ 12780 w 12779"/>
                <a:gd name="connsiteY4" fmla="*/ 6384 h 75969"/>
                <a:gd name="connsiteX5" fmla="*/ 12780 w 12779"/>
                <a:gd name="connsiteY5" fmla="*/ 69586 h 75969"/>
                <a:gd name="connsiteX6" fmla="*/ 6390 w 12779"/>
                <a:gd name="connsiteY6" fmla="*/ 75970 h 75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75969">
                  <a:moveTo>
                    <a:pt x="6390" y="75970"/>
                  </a:moveTo>
                  <a:cubicBezTo>
                    <a:pt x="2556" y="75970"/>
                    <a:pt x="0" y="73416"/>
                    <a:pt x="0" y="69586"/>
                  </a:cubicBezTo>
                  <a:lnTo>
                    <a:pt x="0" y="6384"/>
                  </a:lnTo>
                  <a:cubicBezTo>
                    <a:pt x="0" y="2554"/>
                    <a:pt x="2556" y="0"/>
                    <a:pt x="6390" y="0"/>
                  </a:cubicBezTo>
                  <a:cubicBezTo>
                    <a:pt x="10224" y="0"/>
                    <a:pt x="12780" y="2554"/>
                    <a:pt x="12780" y="6384"/>
                  </a:cubicBezTo>
                  <a:lnTo>
                    <a:pt x="12780" y="69586"/>
                  </a:lnTo>
                  <a:cubicBezTo>
                    <a:pt x="12780" y="73416"/>
                    <a:pt x="9585" y="75970"/>
                    <a:pt x="6390" y="75970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Graphic 4">
              <a:extLst>
                <a:ext uri="{FF2B5EF4-FFF2-40B4-BE49-F238E27FC236}">
                  <a16:creationId xmlns:a16="http://schemas.microsoft.com/office/drawing/2014/main" id="{A534E05A-B0CC-82E4-A6CD-1886D8FD4062}"/>
                </a:ext>
              </a:extLst>
            </p:cNvPr>
            <p:cNvSpPr/>
            <p:nvPr/>
          </p:nvSpPr>
          <p:spPr>
            <a:xfrm>
              <a:off x="3795622" y="4002919"/>
              <a:ext cx="12779" cy="47879"/>
            </a:xfrm>
            <a:custGeom>
              <a:avLst/>
              <a:gdLst>
                <a:gd name="connsiteX0" fmla="*/ 6390 w 12779"/>
                <a:gd name="connsiteY0" fmla="*/ 47880 h 47879"/>
                <a:gd name="connsiteX1" fmla="*/ 0 w 12779"/>
                <a:gd name="connsiteY1" fmla="*/ 41496 h 47879"/>
                <a:gd name="connsiteX2" fmla="*/ 0 w 12779"/>
                <a:gd name="connsiteY2" fmla="*/ 6384 h 47879"/>
                <a:gd name="connsiteX3" fmla="*/ 6390 w 12779"/>
                <a:gd name="connsiteY3" fmla="*/ 0 h 47879"/>
                <a:gd name="connsiteX4" fmla="*/ 12780 w 12779"/>
                <a:gd name="connsiteY4" fmla="*/ 6384 h 47879"/>
                <a:gd name="connsiteX5" fmla="*/ 12780 w 12779"/>
                <a:gd name="connsiteY5" fmla="*/ 41496 h 47879"/>
                <a:gd name="connsiteX6" fmla="*/ 6390 w 12779"/>
                <a:gd name="connsiteY6" fmla="*/ 47880 h 47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47879">
                  <a:moveTo>
                    <a:pt x="6390" y="47880"/>
                  </a:moveTo>
                  <a:cubicBezTo>
                    <a:pt x="2556" y="47880"/>
                    <a:pt x="0" y="45326"/>
                    <a:pt x="0" y="41496"/>
                  </a:cubicBezTo>
                  <a:lnTo>
                    <a:pt x="0" y="6384"/>
                  </a:lnTo>
                  <a:cubicBezTo>
                    <a:pt x="0" y="2553"/>
                    <a:pt x="2556" y="0"/>
                    <a:pt x="6390" y="0"/>
                  </a:cubicBezTo>
                  <a:cubicBezTo>
                    <a:pt x="10224" y="0"/>
                    <a:pt x="12780" y="2553"/>
                    <a:pt x="12780" y="6384"/>
                  </a:cubicBezTo>
                  <a:lnTo>
                    <a:pt x="12780" y="41496"/>
                  </a:lnTo>
                  <a:cubicBezTo>
                    <a:pt x="12780" y="45326"/>
                    <a:pt x="10224" y="47880"/>
                    <a:pt x="6390" y="47880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Graphic 4">
              <a:extLst>
                <a:ext uri="{FF2B5EF4-FFF2-40B4-BE49-F238E27FC236}">
                  <a16:creationId xmlns:a16="http://schemas.microsoft.com/office/drawing/2014/main" id="{5FC70166-646F-74AF-785D-465934F1D5FE}"/>
                </a:ext>
              </a:extLst>
            </p:cNvPr>
            <p:cNvSpPr/>
            <p:nvPr/>
          </p:nvSpPr>
          <p:spPr>
            <a:xfrm>
              <a:off x="3766867" y="3990151"/>
              <a:ext cx="12779" cy="60647"/>
            </a:xfrm>
            <a:custGeom>
              <a:avLst/>
              <a:gdLst>
                <a:gd name="connsiteX0" fmla="*/ 6390 w 12779"/>
                <a:gd name="connsiteY0" fmla="*/ 60648 h 60647"/>
                <a:gd name="connsiteX1" fmla="*/ 0 w 12779"/>
                <a:gd name="connsiteY1" fmla="*/ 54264 h 60647"/>
                <a:gd name="connsiteX2" fmla="*/ 0 w 12779"/>
                <a:gd name="connsiteY2" fmla="*/ 6384 h 60647"/>
                <a:gd name="connsiteX3" fmla="*/ 6390 w 12779"/>
                <a:gd name="connsiteY3" fmla="*/ 0 h 60647"/>
                <a:gd name="connsiteX4" fmla="*/ 12780 w 12779"/>
                <a:gd name="connsiteY4" fmla="*/ 6384 h 60647"/>
                <a:gd name="connsiteX5" fmla="*/ 12780 w 12779"/>
                <a:gd name="connsiteY5" fmla="*/ 54264 h 60647"/>
                <a:gd name="connsiteX6" fmla="*/ 6390 w 12779"/>
                <a:gd name="connsiteY6" fmla="*/ 60648 h 60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60647">
                  <a:moveTo>
                    <a:pt x="6390" y="60648"/>
                  </a:moveTo>
                  <a:cubicBezTo>
                    <a:pt x="2556" y="60648"/>
                    <a:pt x="0" y="58094"/>
                    <a:pt x="0" y="54264"/>
                  </a:cubicBezTo>
                  <a:lnTo>
                    <a:pt x="0" y="6384"/>
                  </a:lnTo>
                  <a:cubicBezTo>
                    <a:pt x="0" y="2553"/>
                    <a:pt x="2556" y="0"/>
                    <a:pt x="6390" y="0"/>
                  </a:cubicBezTo>
                  <a:cubicBezTo>
                    <a:pt x="10224" y="0"/>
                    <a:pt x="12780" y="2553"/>
                    <a:pt x="12780" y="6384"/>
                  </a:cubicBezTo>
                  <a:lnTo>
                    <a:pt x="12780" y="54264"/>
                  </a:lnTo>
                  <a:cubicBezTo>
                    <a:pt x="12780" y="58094"/>
                    <a:pt x="10224" y="60648"/>
                    <a:pt x="6390" y="60648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Graphic 4">
              <a:extLst>
                <a:ext uri="{FF2B5EF4-FFF2-40B4-BE49-F238E27FC236}">
                  <a16:creationId xmlns:a16="http://schemas.microsoft.com/office/drawing/2014/main" id="{5A43D2BD-8025-74E2-18E2-D49295ABA8C7}"/>
                </a:ext>
              </a:extLst>
            </p:cNvPr>
            <p:cNvSpPr/>
            <p:nvPr/>
          </p:nvSpPr>
          <p:spPr>
            <a:xfrm>
              <a:off x="3738113" y="4007388"/>
              <a:ext cx="12779" cy="43411"/>
            </a:xfrm>
            <a:custGeom>
              <a:avLst/>
              <a:gdLst>
                <a:gd name="connsiteX0" fmla="*/ 6390 w 12779"/>
                <a:gd name="connsiteY0" fmla="*/ 43411 h 43411"/>
                <a:gd name="connsiteX1" fmla="*/ 0 w 12779"/>
                <a:gd name="connsiteY1" fmla="*/ 37027 h 43411"/>
                <a:gd name="connsiteX2" fmla="*/ 0 w 12779"/>
                <a:gd name="connsiteY2" fmla="*/ 6384 h 43411"/>
                <a:gd name="connsiteX3" fmla="*/ 6390 w 12779"/>
                <a:gd name="connsiteY3" fmla="*/ 0 h 43411"/>
                <a:gd name="connsiteX4" fmla="*/ 12780 w 12779"/>
                <a:gd name="connsiteY4" fmla="*/ 6384 h 43411"/>
                <a:gd name="connsiteX5" fmla="*/ 12780 w 12779"/>
                <a:gd name="connsiteY5" fmla="*/ 37027 h 43411"/>
                <a:gd name="connsiteX6" fmla="*/ 6390 w 12779"/>
                <a:gd name="connsiteY6" fmla="*/ 43411 h 43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43411">
                  <a:moveTo>
                    <a:pt x="6390" y="43411"/>
                  </a:moveTo>
                  <a:cubicBezTo>
                    <a:pt x="2556" y="43411"/>
                    <a:pt x="0" y="40858"/>
                    <a:pt x="0" y="37027"/>
                  </a:cubicBezTo>
                  <a:lnTo>
                    <a:pt x="0" y="6384"/>
                  </a:lnTo>
                  <a:cubicBezTo>
                    <a:pt x="0" y="2554"/>
                    <a:pt x="2556" y="0"/>
                    <a:pt x="6390" y="0"/>
                  </a:cubicBezTo>
                  <a:cubicBezTo>
                    <a:pt x="10224" y="0"/>
                    <a:pt x="12780" y="2554"/>
                    <a:pt x="12780" y="6384"/>
                  </a:cubicBezTo>
                  <a:lnTo>
                    <a:pt x="12780" y="37027"/>
                  </a:lnTo>
                  <a:cubicBezTo>
                    <a:pt x="12780" y="40858"/>
                    <a:pt x="10224" y="43411"/>
                    <a:pt x="6390" y="43411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Graphic 4">
              <a:extLst>
                <a:ext uri="{FF2B5EF4-FFF2-40B4-BE49-F238E27FC236}">
                  <a16:creationId xmlns:a16="http://schemas.microsoft.com/office/drawing/2014/main" id="{9E7E2474-BC11-84E3-B0A0-50425D3F9C69}"/>
                </a:ext>
              </a:extLst>
            </p:cNvPr>
            <p:cNvSpPr/>
            <p:nvPr/>
          </p:nvSpPr>
          <p:spPr>
            <a:xfrm>
              <a:off x="3696716" y="3936526"/>
              <a:ext cx="179684" cy="74692"/>
            </a:xfrm>
            <a:custGeom>
              <a:avLst/>
              <a:gdLst>
                <a:gd name="connsiteX0" fmla="*/ 6252 w 179684"/>
                <a:gd name="connsiteY0" fmla="*/ 74693 h 74692"/>
                <a:gd name="connsiteX1" fmla="*/ 501 w 179684"/>
                <a:gd name="connsiteY1" fmla="*/ 70862 h 74692"/>
                <a:gd name="connsiteX2" fmla="*/ 3057 w 179684"/>
                <a:gd name="connsiteY2" fmla="*/ 62563 h 74692"/>
                <a:gd name="connsiteX3" fmla="*/ 79098 w 179684"/>
                <a:gd name="connsiteY3" fmla="*/ 24259 h 74692"/>
                <a:gd name="connsiteX4" fmla="*/ 86127 w 179684"/>
                <a:gd name="connsiteY4" fmla="*/ 24898 h 74692"/>
                <a:gd name="connsiteX5" fmla="*/ 106574 w 179684"/>
                <a:gd name="connsiteY5" fmla="*/ 40858 h 74692"/>
                <a:gd name="connsiteX6" fmla="*/ 154499 w 179684"/>
                <a:gd name="connsiteY6" fmla="*/ 11491 h 74692"/>
                <a:gd name="connsiteX7" fmla="*/ 151943 w 179684"/>
                <a:gd name="connsiteY7" fmla="*/ 5746 h 74692"/>
                <a:gd name="connsiteX8" fmla="*/ 158972 w 179684"/>
                <a:gd name="connsiteY8" fmla="*/ 0 h 74692"/>
                <a:gd name="connsiteX9" fmla="*/ 173669 w 179684"/>
                <a:gd name="connsiteY9" fmla="*/ 1277 h 74692"/>
                <a:gd name="connsiteX10" fmla="*/ 174308 w 179684"/>
                <a:gd name="connsiteY10" fmla="*/ 1277 h 74692"/>
                <a:gd name="connsiteX11" fmla="*/ 174308 w 179684"/>
                <a:gd name="connsiteY11" fmla="*/ 1277 h 74692"/>
                <a:gd name="connsiteX12" fmla="*/ 174308 w 179684"/>
                <a:gd name="connsiteY12" fmla="*/ 1277 h 74692"/>
                <a:gd name="connsiteX13" fmla="*/ 174947 w 179684"/>
                <a:gd name="connsiteY13" fmla="*/ 1277 h 74692"/>
                <a:gd name="connsiteX14" fmla="*/ 174947 w 179684"/>
                <a:gd name="connsiteY14" fmla="*/ 1277 h 74692"/>
                <a:gd name="connsiteX15" fmla="*/ 178781 w 179684"/>
                <a:gd name="connsiteY15" fmla="*/ 3830 h 74692"/>
                <a:gd name="connsiteX16" fmla="*/ 178781 w 179684"/>
                <a:gd name="connsiteY16" fmla="*/ 3830 h 74692"/>
                <a:gd name="connsiteX17" fmla="*/ 178781 w 179684"/>
                <a:gd name="connsiteY17" fmla="*/ 3830 h 74692"/>
                <a:gd name="connsiteX18" fmla="*/ 178781 w 179684"/>
                <a:gd name="connsiteY18" fmla="*/ 3830 h 74692"/>
                <a:gd name="connsiteX19" fmla="*/ 178781 w 179684"/>
                <a:gd name="connsiteY19" fmla="*/ 3830 h 74692"/>
                <a:gd name="connsiteX20" fmla="*/ 178781 w 179684"/>
                <a:gd name="connsiteY20" fmla="*/ 3830 h 74692"/>
                <a:gd name="connsiteX21" fmla="*/ 178781 w 179684"/>
                <a:gd name="connsiteY21" fmla="*/ 3830 h 74692"/>
                <a:gd name="connsiteX22" fmla="*/ 179419 w 179684"/>
                <a:gd name="connsiteY22" fmla="*/ 8299 h 74692"/>
                <a:gd name="connsiteX23" fmla="*/ 179419 w 179684"/>
                <a:gd name="connsiteY23" fmla="*/ 8938 h 74692"/>
                <a:gd name="connsiteX24" fmla="*/ 179419 w 179684"/>
                <a:gd name="connsiteY24" fmla="*/ 8938 h 74692"/>
                <a:gd name="connsiteX25" fmla="*/ 179419 w 179684"/>
                <a:gd name="connsiteY25" fmla="*/ 9576 h 74692"/>
                <a:gd name="connsiteX26" fmla="*/ 174947 w 179684"/>
                <a:gd name="connsiteY26" fmla="*/ 22982 h 74692"/>
                <a:gd name="connsiteX27" fmla="*/ 166640 w 179684"/>
                <a:gd name="connsiteY27" fmla="*/ 26813 h 74692"/>
                <a:gd name="connsiteX28" fmla="*/ 162806 w 179684"/>
                <a:gd name="connsiteY28" fmla="*/ 21706 h 74692"/>
                <a:gd name="connsiteX29" fmla="*/ 110408 w 179684"/>
                <a:gd name="connsiteY29" fmla="*/ 53626 h 74692"/>
                <a:gd name="connsiteX30" fmla="*/ 103379 w 179684"/>
                <a:gd name="connsiteY30" fmla="*/ 52987 h 74692"/>
                <a:gd name="connsiteX31" fmla="*/ 82293 w 179684"/>
                <a:gd name="connsiteY31" fmla="*/ 36389 h 74692"/>
                <a:gd name="connsiteX32" fmla="*/ 9447 w 179684"/>
                <a:gd name="connsiteY32" fmla="*/ 72778 h 74692"/>
                <a:gd name="connsiteX33" fmla="*/ 6252 w 179684"/>
                <a:gd name="connsiteY33" fmla="*/ 74693 h 74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79684" h="74692">
                  <a:moveTo>
                    <a:pt x="6252" y="74693"/>
                  </a:moveTo>
                  <a:cubicBezTo>
                    <a:pt x="3696" y="74693"/>
                    <a:pt x="1779" y="73416"/>
                    <a:pt x="501" y="70862"/>
                  </a:cubicBezTo>
                  <a:cubicBezTo>
                    <a:pt x="-776" y="67670"/>
                    <a:pt x="501" y="63840"/>
                    <a:pt x="3057" y="62563"/>
                  </a:cubicBezTo>
                  <a:lnTo>
                    <a:pt x="79098" y="24259"/>
                  </a:lnTo>
                  <a:cubicBezTo>
                    <a:pt x="81015" y="22982"/>
                    <a:pt x="84210" y="23621"/>
                    <a:pt x="86127" y="24898"/>
                  </a:cubicBezTo>
                  <a:lnTo>
                    <a:pt x="106574" y="40858"/>
                  </a:lnTo>
                  <a:lnTo>
                    <a:pt x="154499" y="11491"/>
                  </a:lnTo>
                  <a:cubicBezTo>
                    <a:pt x="152582" y="10214"/>
                    <a:pt x="151304" y="7661"/>
                    <a:pt x="151943" y="5746"/>
                  </a:cubicBezTo>
                  <a:cubicBezTo>
                    <a:pt x="152582" y="2554"/>
                    <a:pt x="155138" y="0"/>
                    <a:pt x="158972" y="0"/>
                  </a:cubicBezTo>
                  <a:lnTo>
                    <a:pt x="173669" y="1277"/>
                  </a:lnTo>
                  <a:cubicBezTo>
                    <a:pt x="173669" y="1277"/>
                    <a:pt x="174308" y="1277"/>
                    <a:pt x="174308" y="1277"/>
                  </a:cubicBezTo>
                  <a:cubicBezTo>
                    <a:pt x="174308" y="1277"/>
                    <a:pt x="174308" y="1277"/>
                    <a:pt x="174308" y="1277"/>
                  </a:cubicBezTo>
                  <a:lnTo>
                    <a:pt x="174308" y="1277"/>
                  </a:lnTo>
                  <a:cubicBezTo>
                    <a:pt x="174308" y="1277"/>
                    <a:pt x="174947" y="1277"/>
                    <a:pt x="174947" y="1277"/>
                  </a:cubicBezTo>
                  <a:cubicBezTo>
                    <a:pt x="174947" y="1277"/>
                    <a:pt x="174947" y="1277"/>
                    <a:pt x="174947" y="1277"/>
                  </a:cubicBezTo>
                  <a:cubicBezTo>
                    <a:pt x="176225" y="1915"/>
                    <a:pt x="177503" y="2554"/>
                    <a:pt x="178781" y="3830"/>
                  </a:cubicBezTo>
                  <a:lnTo>
                    <a:pt x="178781" y="3830"/>
                  </a:lnTo>
                  <a:cubicBezTo>
                    <a:pt x="178781" y="3830"/>
                    <a:pt x="178781" y="3830"/>
                    <a:pt x="178781" y="3830"/>
                  </a:cubicBezTo>
                  <a:cubicBezTo>
                    <a:pt x="178781" y="3830"/>
                    <a:pt x="178781" y="3830"/>
                    <a:pt x="178781" y="3830"/>
                  </a:cubicBezTo>
                  <a:lnTo>
                    <a:pt x="178781" y="3830"/>
                  </a:lnTo>
                  <a:lnTo>
                    <a:pt x="178781" y="3830"/>
                  </a:lnTo>
                  <a:cubicBezTo>
                    <a:pt x="178781" y="3830"/>
                    <a:pt x="178781" y="3830"/>
                    <a:pt x="178781" y="3830"/>
                  </a:cubicBezTo>
                  <a:cubicBezTo>
                    <a:pt x="179419" y="5107"/>
                    <a:pt x="180059" y="7022"/>
                    <a:pt x="179419" y="8299"/>
                  </a:cubicBezTo>
                  <a:cubicBezTo>
                    <a:pt x="179419" y="8299"/>
                    <a:pt x="179419" y="8938"/>
                    <a:pt x="179419" y="8938"/>
                  </a:cubicBezTo>
                  <a:cubicBezTo>
                    <a:pt x="179419" y="8938"/>
                    <a:pt x="179419" y="8938"/>
                    <a:pt x="179419" y="8938"/>
                  </a:cubicBezTo>
                  <a:cubicBezTo>
                    <a:pt x="179419" y="8938"/>
                    <a:pt x="179419" y="9576"/>
                    <a:pt x="179419" y="9576"/>
                  </a:cubicBezTo>
                  <a:lnTo>
                    <a:pt x="174947" y="22982"/>
                  </a:lnTo>
                  <a:cubicBezTo>
                    <a:pt x="173669" y="26174"/>
                    <a:pt x="169835" y="28090"/>
                    <a:pt x="166640" y="26813"/>
                  </a:cubicBezTo>
                  <a:cubicBezTo>
                    <a:pt x="164084" y="26174"/>
                    <a:pt x="162806" y="24259"/>
                    <a:pt x="162806" y="21706"/>
                  </a:cubicBezTo>
                  <a:lnTo>
                    <a:pt x="110408" y="53626"/>
                  </a:lnTo>
                  <a:cubicBezTo>
                    <a:pt x="107852" y="54902"/>
                    <a:pt x="105296" y="54902"/>
                    <a:pt x="103379" y="52987"/>
                  </a:cubicBezTo>
                  <a:lnTo>
                    <a:pt x="82293" y="36389"/>
                  </a:lnTo>
                  <a:lnTo>
                    <a:pt x="9447" y="72778"/>
                  </a:lnTo>
                  <a:cubicBezTo>
                    <a:pt x="8169" y="74054"/>
                    <a:pt x="7530" y="74693"/>
                    <a:pt x="6252" y="74693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Graphic 4">
              <a:extLst>
                <a:ext uri="{FF2B5EF4-FFF2-40B4-BE49-F238E27FC236}">
                  <a16:creationId xmlns:a16="http://schemas.microsoft.com/office/drawing/2014/main" id="{8B8C2BE2-F342-BD2C-CAA3-DC4A257296A4}"/>
                </a:ext>
              </a:extLst>
            </p:cNvPr>
            <p:cNvSpPr/>
            <p:nvPr/>
          </p:nvSpPr>
          <p:spPr>
            <a:xfrm>
              <a:off x="3709358" y="4081442"/>
              <a:ext cx="159109" cy="12767"/>
            </a:xfrm>
            <a:custGeom>
              <a:avLst/>
              <a:gdLst>
                <a:gd name="connsiteX0" fmla="*/ 152720 w 159109"/>
                <a:gd name="connsiteY0" fmla="*/ 12768 h 12767"/>
                <a:gd name="connsiteX1" fmla="*/ 6390 w 159109"/>
                <a:gd name="connsiteY1" fmla="*/ 12768 h 12767"/>
                <a:gd name="connsiteX2" fmla="*/ 0 w 159109"/>
                <a:gd name="connsiteY2" fmla="*/ 6384 h 12767"/>
                <a:gd name="connsiteX3" fmla="*/ 6390 w 159109"/>
                <a:gd name="connsiteY3" fmla="*/ 0 h 12767"/>
                <a:gd name="connsiteX4" fmla="*/ 152720 w 159109"/>
                <a:gd name="connsiteY4" fmla="*/ 0 h 12767"/>
                <a:gd name="connsiteX5" fmla="*/ 159110 w 159109"/>
                <a:gd name="connsiteY5" fmla="*/ 6384 h 12767"/>
                <a:gd name="connsiteX6" fmla="*/ 152720 w 159109"/>
                <a:gd name="connsiteY6" fmla="*/ 12768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109" h="12767">
                  <a:moveTo>
                    <a:pt x="152720" y="12768"/>
                  </a:moveTo>
                  <a:lnTo>
                    <a:pt x="6390" y="12768"/>
                  </a:lnTo>
                  <a:cubicBezTo>
                    <a:pt x="2556" y="12768"/>
                    <a:pt x="0" y="10214"/>
                    <a:pt x="0" y="6384"/>
                  </a:cubicBezTo>
                  <a:cubicBezTo>
                    <a:pt x="0" y="2553"/>
                    <a:pt x="2556" y="0"/>
                    <a:pt x="6390" y="0"/>
                  </a:cubicBezTo>
                  <a:lnTo>
                    <a:pt x="152720" y="0"/>
                  </a:lnTo>
                  <a:cubicBezTo>
                    <a:pt x="156553" y="0"/>
                    <a:pt x="159110" y="2553"/>
                    <a:pt x="159110" y="6384"/>
                  </a:cubicBezTo>
                  <a:cubicBezTo>
                    <a:pt x="159110" y="10214"/>
                    <a:pt x="156553" y="12768"/>
                    <a:pt x="152720" y="12768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D0256E8B-A1B0-6845-6A23-B7FA3B1747D4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b="0" noProof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b="0" noProof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47F8E1-502A-7226-19D3-0362FFD52233}"/>
              </a:ext>
            </a:extLst>
          </p:cNvPr>
          <p:cNvSpPr txBox="1"/>
          <p:nvPr userDrawn="1"/>
        </p:nvSpPr>
        <p:spPr>
          <a:xfrm>
            <a:off x="6485817" y="6477001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LASSIFICATION: CONFIDENTIAL – FOR INTERNAL USE ONLY</a:t>
            </a:r>
            <a:endParaRPr lang="en-US" sz="800" b="0" noProof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D587A6-D05E-CF1F-A0FA-1D2DD8D7C2C4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0" algn="r">
              <a:spcBef>
                <a:spcPts val="0"/>
              </a:spcBef>
              <a:buSzPct val="100000"/>
              <a:buFont typeface="Arial"/>
              <a:buNone/>
              <a:defRPr sz="900" b="0" i="0" u="none" strike="noStrik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/>
            <a:r>
              <a:rPr lang="en-US" sz="800" b="0">
                <a:solidFill>
                  <a:schemeClr val="bg1"/>
                </a:solidFill>
              </a:rPr>
              <a:t>Copyright © 2025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482011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1 Blue 6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6CF3837-4284-3D27-5C0E-783DF75F493F}"/>
              </a:ext>
            </a:extLst>
          </p:cNvPr>
          <p:cNvSpPr/>
          <p:nvPr userDrawn="1"/>
        </p:nvSpPr>
        <p:spPr bwMode="gray">
          <a:xfrm>
            <a:off x="10129608" y="471593"/>
            <a:ext cx="1640752" cy="35782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0" bIns="88900" rtlCol="0" anchor="ctr"/>
          <a:lstStyle/>
          <a:p>
            <a:pPr>
              <a:buFont typeface="Wingdings 2" pitchFamily="18" charset="2"/>
              <a:buNone/>
            </a:pPr>
            <a:r>
              <a:rPr lang="en-US" sz="1000" b="1">
                <a:solidFill>
                  <a:schemeClr val="bg1"/>
                </a:solidFill>
              </a:rPr>
              <a:t>INDUSTRIALIZE INNOVATIO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67DC574-0A18-AF46-F4EF-5E1EDF1693EB}"/>
              </a:ext>
            </a:extLst>
          </p:cNvPr>
          <p:cNvSpPr/>
          <p:nvPr/>
        </p:nvSpPr>
        <p:spPr bwMode="gray">
          <a:xfrm rot="2700000">
            <a:off x="9474580" y="382236"/>
            <a:ext cx="536532" cy="536532"/>
          </a:xfrm>
          <a:prstGeom prst="rect">
            <a:avLst/>
          </a:prstGeom>
          <a:solidFill>
            <a:schemeClr val="accent4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AE40723-3ED8-0FB8-A439-2CB57EFF2C68}"/>
              </a:ext>
            </a:extLst>
          </p:cNvPr>
          <p:cNvGrpSpPr/>
          <p:nvPr/>
        </p:nvGrpSpPr>
        <p:grpSpPr>
          <a:xfrm>
            <a:off x="9569110" y="476766"/>
            <a:ext cx="347472" cy="347472"/>
            <a:chOff x="3821866" y="3800324"/>
            <a:chExt cx="420037" cy="420037"/>
          </a:xfrm>
          <a:solidFill>
            <a:schemeClr val="bg1"/>
          </a:solidFill>
        </p:grpSpPr>
        <p:sp>
          <p:nvSpPr>
            <p:cNvPr id="31" name="Graphic 4">
              <a:extLst>
                <a:ext uri="{FF2B5EF4-FFF2-40B4-BE49-F238E27FC236}">
                  <a16:creationId xmlns:a16="http://schemas.microsoft.com/office/drawing/2014/main" id="{4B9BF8B4-D026-B9F6-0251-E9AD0C0DAA2A}"/>
                </a:ext>
              </a:extLst>
            </p:cNvPr>
            <p:cNvSpPr/>
            <p:nvPr/>
          </p:nvSpPr>
          <p:spPr>
            <a:xfrm>
              <a:off x="3821866" y="3800324"/>
              <a:ext cx="420037" cy="420037"/>
            </a:xfrm>
            <a:custGeom>
              <a:avLst/>
              <a:gdLst>
                <a:gd name="connsiteX0" fmla="*/ 181474 w 362312"/>
                <a:gd name="connsiteY0" fmla="*/ 0 h 361971"/>
                <a:gd name="connsiteX1" fmla="*/ 0 w 362312"/>
                <a:gd name="connsiteY1" fmla="*/ 180667 h 361971"/>
                <a:gd name="connsiteX2" fmla="*/ 180836 w 362312"/>
                <a:gd name="connsiteY2" fmla="*/ 361972 h 361971"/>
                <a:gd name="connsiteX3" fmla="*/ 362309 w 362312"/>
                <a:gd name="connsiteY3" fmla="*/ 181305 h 361971"/>
                <a:gd name="connsiteX4" fmla="*/ 362309 w 362312"/>
                <a:gd name="connsiteY4" fmla="*/ 181305 h 361971"/>
                <a:gd name="connsiteX5" fmla="*/ 181474 w 362312"/>
                <a:gd name="connsiteY5" fmla="*/ 0 h 361971"/>
                <a:gd name="connsiteX6" fmla="*/ 181474 w 362312"/>
                <a:gd name="connsiteY6" fmla="*/ 349204 h 361971"/>
                <a:gd name="connsiteX7" fmla="*/ 12780 w 362312"/>
                <a:gd name="connsiteY7" fmla="*/ 181305 h 361971"/>
                <a:gd name="connsiteX8" fmla="*/ 180836 w 362312"/>
                <a:gd name="connsiteY8" fmla="*/ 12768 h 361971"/>
                <a:gd name="connsiteX9" fmla="*/ 349529 w 362312"/>
                <a:gd name="connsiteY9" fmla="*/ 180667 h 361971"/>
                <a:gd name="connsiteX10" fmla="*/ 349529 w 362312"/>
                <a:gd name="connsiteY10" fmla="*/ 180667 h 361971"/>
                <a:gd name="connsiteX11" fmla="*/ 181474 w 362312"/>
                <a:gd name="connsiteY11" fmla="*/ 349204 h 361971"/>
                <a:gd name="connsiteX12" fmla="*/ 181474 w 362312"/>
                <a:gd name="connsiteY12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12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6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949" y="81077"/>
                    <a:pt x="281796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099"/>
                    <a:pt x="88181" y="12768"/>
                    <a:pt x="180836" y="12768"/>
                  </a:cubicBezTo>
                  <a:cubicBezTo>
                    <a:pt x="274128" y="12768"/>
                    <a:pt x="349529" y="88099"/>
                    <a:pt x="349529" y="180667"/>
                  </a:cubicBezTo>
                  <a:cubicBezTo>
                    <a:pt x="349529" y="180667"/>
                    <a:pt x="349529" y="180667"/>
                    <a:pt x="349529" y="180667"/>
                  </a:cubicBezTo>
                  <a:cubicBezTo>
                    <a:pt x="350169" y="273873"/>
                    <a:pt x="274767" y="349204"/>
                    <a:pt x="181474" y="349204"/>
                  </a:cubicBezTo>
                  <a:lnTo>
                    <a:pt x="181474" y="3492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Graphic 4">
              <a:extLst>
                <a:ext uri="{FF2B5EF4-FFF2-40B4-BE49-F238E27FC236}">
                  <a16:creationId xmlns:a16="http://schemas.microsoft.com/office/drawing/2014/main" id="{50E1439D-2113-DA40-761F-02CD8F2ADEE6}"/>
                </a:ext>
              </a:extLst>
            </p:cNvPr>
            <p:cNvSpPr/>
            <p:nvPr/>
          </p:nvSpPr>
          <p:spPr>
            <a:xfrm>
              <a:off x="3963441" y="3914860"/>
              <a:ext cx="138580" cy="222982"/>
            </a:xfrm>
            <a:custGeom>
              <a:avLst/>
              <a:gdLst>
                <a:gd name="connsiteX0" fmla="*/ 60633 w 119535"/>
                <a:gd name="connsiteY0" fmla="*/ 0 h 192157"/>
                <a:gd name="connsiteX1" fmla="*/ 59355 w 119535"/>
                <a:gd name="connsiteY1" fmla="*/ 0 h 192157"/>
                <a:gd name="connsiteX2" fmla="*/ 8236 w 119535"/>
                <a:gd name="connsiteY2" fmla="*/ 24259 h 192157"/>
                <a:gd name="connsiteX3" fmla="*/ 3763 w 119535"/>
                <a:gd name="connsiteY3" fmla="*/ 74693 h 192157"/>
                <a:gd name="connsiteX4" fmla="*/ 30601 w 119535"/>
                <a:gd name="connsiteY4" fmla="*/ 143001 h 192157"/>
                <a:gd name="connsiteX5" fmla="*/ 29962 w 119535"/>
                <a:gd name="connsiteY5" fmla="*/ 146832 h 192157"/>
                <a:gd name="connsiteX6" fmla="*/ 36991 w 119535"/>
                <a:gd name="connsiteY6" fmla="*/ 187051 h 192157"/>
                <a:gd name="connsiteX7" fmla="*/ 43381 w 119535"/>
                <a:gd name="connsiteY7" fmla="*/ 192158 h 192157"/>
                <a:gd name="connsiteX8" fmla="*/ 75969 w 119535"/>
                <a:gd name="connsiteY8" fmla="*/ 192158 h 192157"/>
                <a:gd name="connsiteX9" fmla="*/ 82359 w 119535"/>
                <a:gd name="connsiteY9" fmla="*/ 187051 h 192157"/>
                <a:gd name="connsiteX10" fmla="*/ 89388 w 119535"/>
                <a:gd name="connsiteY10" fmla="*/ 146832 h 192157"/>
                <a:gd name="connsiteX11" fmla="*/ 88749 w 119535"/>
                <a:gd name="connsiteY11" fmla="*/ 143640 h 192157"/>
                <a:gd name="connsiteX12" fmla="*/ 115586 w 119535"/>
                <a:gd name="connsiteY12" fmla="*/ 74693 h 192157"/>
                <a:gd name="connsiteX13" fmla="*/ 111114 w 119535"/>
                <a:gd name="connsiteY13" fmla="*/ 23621 h 192157"/>
                <a:gd name="connsiteX14" fmla="*/ 60633 w 119535"/>
                <a:gd name="connsiteY14" fmla="*/ 0 h 192157"/>
                <a:gd name="connsiteX15" fmla="*/ 70218 w 119535"/>
                <a:gd name="connsiteY15" fmla="*/ 179390 h 192157"/>
                <a:gd name="connsiteX16" fmla="*/ 48492 w 119535"/>
                <a:gd name="connsiteY16" fmla="*/ 179390 h 192157"/>
                <a:gd name="connsiteX17" fmla="*/ 43381 w 119535"/>
                <a:gd name="connsiteY17" fmla="*/ 151939 h 192157"/>
                <a:gd name="connsiteX18" fmla="*/ 75330 w 119535"/>
                <a:gd name="connsiteY18" fmla="*/ 151939 h 192157"/>
                <a:gd name="connsiteX19" fmla="*/ 70218 w 119535"/>
                <a:gd name="connsiteY19" fmla="*/ 179390 h 192157"/>
                <a:gd name="connsiteX20" fmla="*/ 104724 w 119535"/>
                <a:gd name="connsiteY20" fmla="*/ 68947 h 192157"/>
                <a:gd name="connsiteX21" fmla="*/ 77247 w 119535"/>
                <a:gd name="connsiteY21" fmla="*/ 139171 h 192157"/>
                <a:gd name="connsiteX22" fmla="*/ 65745 w 119535"/>
                <a:gd name="connsiteY22" fmla="*/ 139171 h 192157"/>
                <a:gd name="connsiteX23" fmla="*/ 65745 w 119535"/>
                <a:gd name="connsiteY23" fmla="*/ 89376 h 192157"/>
                <a:gd name="connsiteX24" fmla="*/ 78525 w 119535"/>
                <a:gd name="connsiteY24" fmla="*/ 79800 h 192157"/>
                <a:gd name="connsiteX25" fmla="*/ 79164 w 119535"/>
                <a:gd name="connsiteY25" fmla="*/ 70862 h 192157"/>
                <a:gd name="connsiteX26" fmla="*/ 70857 w 119535"/>
                <a:gd name="connsiteY26" fmla="*/ 69585 h 192157"/>
                <a:gd name="connsiteX27" fmla="*/ 59355 w 119535"/>
                <a:gd name="connsiteY27" fmla="*/ 78523 h 192157"/>
                <a:gd name="connsiteX28" fmla="*/ 47853 w 119535"/>
                <a:gd name="connsiteY28" fmla="*/ 69585 h 192157"/>
                <a:gd name="connsiteX29" fmla="*/ 38907 w 119535"/>
                <a:gd name="connsiteY29" fmla="*/ 70224 h 192157"/>
                <a:gd name="connsiteX30" fmla="*/ 39547 w 119535"/>
                <a:gd name="connsiteY30" fmla="*/ 79161 h 192157"/>
                <a:gd name="connsiteX31" fmla="*/ 40186 w 119535"/>
                <a:gd name="connsiteY31" fmla="*/ 79800 h 192157"/>
                <a:gd name="connsiteX32" fmla="*/ 53604 w 119535"/>
                <a:gd name="connsiteY32" fmla="*/ 90014 h 192157"/>
                <a:gd name="connsiteX33" fmla="*/ 53604 w 119535"/>
                <a:gd name="connsiteY33" fmla="*/ 139171 h 192157"/>
                <a:gd name="connsiteX34" fmla="*/ 43381 w 119535"/>
                <a:gd name="connsiteY34" fmla="*/ 139171 h 192157"/>
                <a:gd name="connsiteX35" fmla="*/ 15904 w 119535"/>
                <a:gd name="connsiteY35" fmla="*/ 68947 h 192157"/>
                <a:gd name="connsiteX36" fmla="*/ 19737 w 119535"/>
                <a:gd name="connsiteY36" fmla="*/ 30643 h 192157"/>
                <a:gd name="connsiteX37" fmla="*/ 60633 w 119535"/>
                <a:gd name="connsiteY37" fmla="*/ 12768 h 192157"/>
                <a:gd name="connsiteX38" fmla="*/ 61912 w 119535"/>
                <a:gd name="connsiteY38" fmla="*/ 12768 h 192157"/>
                <a:gd name="connsiteX39" fmla="*/ 102807 w 119535"/>
                <a:gd name="connsiteY39" fmla="*/ 30643 h 192157"/>
                <a:gd name="connsiteX40" fmla="*/ 104724 w 119535"/>
                <a:gd name="connsiteY40" fmla="*/ 68947 h 192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19535" h="192157">
                  <a:moveTo>
                    <a:pt x="60633" y="0"/>
                  </a:moveTo>
                  <a:lnTo>
                    <a:pt x="59355" y="0"/>
                  </a:lnTo>
                  <a:cubicBezTo>
                    <a:pt x="29322" y="0"/>
                    <a:pt x="14626" y="12768"/>
                    <a:pt x="8236" y="24259"/>
                  </a:cubicBezTo>
                  <a:cubicBezTo>
                    <a:pt x="-710" y="39581"/>
                    <a:pt x="-2627" y="58094"/>
                    <a:pt x="3763" y="74693"/>
                  </a:cubicBezTo>
                  <a:cubicBezTo>
                    <a:pt x="24850" y="116827"/>
                    <a:pt x="29962" y="136617"/>
                    <a:pt x="30601" y="143001"/>
                  </a:cubicBezTo>
                  <a:cubicBezTo>
                    <a:pt x="29962" y="144278"/>
                    <a:pt x="29962" y="145555"/>
                    <a:pt x="29962" y="146832"/>
                  </a:cubicBezTo>
                  <a:lnTo>
                    <a:pt x="36991" y="187051"/>
                  </a:lnTo>
                  <a:cubicBezTo>
                    <a:pt x="37630" y="190243"/>
                    <a:pt x="40186" y="192158"/>
                    <a:pt x="43381" y="192158"/>
                  </a:cubicBezTo>
                  <a:lnTo>
                    <a:pt x="75969" y="192158"/>
                  </a:lnTo>
                  <a:cubicBezTo>
                    <a:pt x="79164" y="192158"/>
                    <a:pt x="81720" y="190243"/>
                    <a:pt x="82359" y="187051"/>
                  </a:cubicBezTo>
                  <a:lnTo>
                    <a:pt x="89388" y="146832"/>
                  </a:lnTo>
                  <a:cubicBezTo>
                    <a:pt x="89388" y="145555"/>
                    <a:pt x="89388" y="144916"/>
                    <a:pt x="88749" y="143640"/>
                  </a:cubicBezTo>
                  <a:cubicBezTo>
                    <a:pt x="89388" y="137894"/>
                    <a:pt x="93861" y="117465"/>
                    <a:pt x="115586" y="74693"/>
                  </a:cubicBezTo>
                  <a:cubicBezTo>
                    <a:pt x="121976" y="58094"/>
                    <a:pt x="120699" y="38942"/>
                    <a:pt x="111114" y="23621"/>
                  </a:cubicBezTo>
                  <a:cubicBezTo>
                    <a:pt x="104724" y="12768"/>
                    <a:pt x="90027" y="0"/>
                    <a:pt x="60633" y="0"/>
                  </a:cubicBezTo>
                  <a:close/>
                  <a:moveTo>
                    <a:pt x="70218" y="179390"/>
                  </a:moveTo>
                  <a:lnTo>
                    <a:pt x="48492" y="179390"/>
                  </a:lnTo>
                  <a:lnTo>
                    <a:pt x="43381" y="151939"/>
                  </a:lnTo>
                  <a:lnTo>
                    <a:pt x="75330" y="151939"/>
                  </a:lnTo>
                  <a:lnTo>
                    <a:pt x="70218" y="179390"/>
                  </a:lnTo>
                  <a:close/>
                  <a:moveTo>
                    <a:pt x="104724" y="68947"/>
                  </a:moveTo>
                  <a:cubicBezTo>
                    <a:pt x="84915" y="108528"/>
                    <a:pt x="78525" y="129595"/>
                    <a:pt x="77247" y="139171"/>
                  </a:cubicBezTo>
                  <a:lnTo>
                    <a:pt x="65745" y="139171"/>
                  </a:lnTo>
                  <a:lnTo>
                    <a:pt x="65745" y="89376"/>
                  </a:lnTo>
                  <a:lnTo>
                    <a:pt x="78525" y="79800"/>
                  </a:lnTo>
                  <a:cubicBezTo>
                    <a:pt x="81081" y="77246"/>
                    <a:pt x="81720" y="73416"/>
                    <a:pt x="79164" y="70862"/>
                  </a:cubicBezTo>
                  <a:cubicBezTo>
                    <a:pt x="77247" y="68309"/>
                    <a:pt x="73413" y="67670"/>
                    <a:pt x="70857" y="69585"/>
                  </a:cubicBezTo>
                  <a:lnTo>
                    <a:pt x="59355" y="78523"/>
                  </a:lnTo>
                  <a:lnTo>
                    <a:pt x="47853" y="69585"/>
                  </a:lnTo>
                  <a:cubicBezTo>
                    <a:pt x="45297" y="67032"/>
                    <a:pt x="41463" y="67670"/>
                    <a:pt x="38907" y="70224"/>
                  </a:cubicBezTo>
                  <a:cubicBezTo>
                    <a:pt x="36352" y="72777"/>
                    <a:pt x="36991" y="76608"/>
                    <a:pt x="39547" y="79161"/>
                  </a:cubicBezTo>
                  <a:cubicBezTo>
                    <a:pt x="39547" y="79161"/>
                    <a:pt x="40186" y="79800"/>
                    <a:pt x="40186" y="79800"/>
                  </a:cubicBezTo>
                  <a:lnTo>
                    <a:pt x="53604" y="90014"/>
                  </a:lnTo>
                  <a:lnTo>
                    <a:pt x="53604" y="139171"/>
                  </a:lnTo>
                  <a:lnTo>
                    <a:pt x="43381" y="139171"/>
                  </a:lnTo>
                  <a:cubicBezTo>
                    <a:pt x="41463" y="129595"/>
                    <a:pt x="35712" y="108528"/>
                    <a:pt x="15904" y="68947"/>
                  </a:cubicBezTo>
                  <a:cubicBezTo>
                    <a:pt x="10792" y="56179"/>
                    <a:pt x="12070" y="42134"/>
                    <a:pt x="19737" y="30643"/>
                  </a:cubicBezTo>
                  <a:cubicBezTo>
                    <a:pt x="27406" y="18513"/>
                    <a:pt x="40824" y="12768"/>
                    <a:pt x="60633" y="12768"/>
                  </a:cubicBezTo>
                  <a:lnTo>
                    <a:pt x="61912" y="12768"/>
                  </a:lnTo>
                  <a:cubicBezTo>
                    <a:pt x="81081" y="12768"/>
                    <a:pt x="95139" y="18513"/>
                    <a:pt x="102807" y="30643"/>
                  </a:cubicBezTo>
                  <a:cubicBezTo>
                    <a:pt x="107919" y="42134"/>
                    <a:pt x="109196" y="56179"/>
                    <a:pt x="104724" y="68947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25962859-95C1-3D52-BF4A-6EFD4EF1DF1F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b="0" noProof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b="0" noProof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AD9C20-D701-C154-09CB-EEA6DB2A6EFF}"/>
              </a:ext>
            </a:extLst>
          </p:cNvPr>
          <p:cNvSpPr txBox="1"/>
          <p:nvPr userDrawn="1"/>
        </p:nvSpPr>
        <p:spPr>
          <a:xfrm>
            <a:off x="6485817" y="6477001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LASSIFICATION: CONFIDENTIAL – FOR INTERNAL USE ONLY</a:t>
            </a:r>
            <a:endParaRPr lang="en-US" sz="800" b="0" noProof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6B63EEE-50D2-E9BE-CC5C-98178C737F3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0" algn="r">
              <a:spcBef>
                <a:spcPts val="0"/>
              </a:spcBef>
              <a:buSzPct val="100000"/>
              <a:buFont typeface="Arial"/>
              <a:buNone/>
              <a:defRPr sz="900" b="0" i="0" u="none" strike="noStrik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/>
            <a:r>
              <a:rPr lang="en-US" sz="800" b="0">
                <a:solidFill>
                  <a:schemeClr val="bg1"/>
                </a:solidFill>
              </a:rPr>
              <a:t>Copyright © 2025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327661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slideLayout" Target="../slideLayouts/slideLayout27.xml"/><Relationship Id="rId3" Type="http://schemas.openxmlformats.org/officeDocument/2006/relationships/slideLayout" Target="../slideLayouts/slideLayout4.xml"/><Relationship Id="rId21" Type="http://schemas.openxmlformats.org/officeDocument/2006/relationships/slideLayout" Target="../slideLayouts/slideLayout22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slideLayout" Target="../slideLayouts/slideLayout21.xml"/><Relationship Id="rId29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slideLayout" Target="../slideLayouts/slideLayout25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slideLayout" Target="../slideLayouts/slideLayout28.xml"/><Relationship Id="rId30" Type="http://schemas.openxmlformats.org/officeDocument/2006/relationships/slideLayout" Target="../slideLayouts/slideLayout31.xml"/><Relationship Id="rId8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06429901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A35A5D5-FD12-4A0E-B47E-3D53D008B26B}"/>
              </a:ext>
            </a:extLst>
          </p:cNvPr>
          <p:cNvSpPr txBox="1"/>
          <p:nvPr userDrawn="1"/>
        </p:nvSpPr>
        <p:spPr>
          <a:xfrm>
            <a:off x="4065081" y="699568"/>
            <a:ext cx="254000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3FEAD1B-5DFB-4123-913B-D7D5838C8C6D}"/>
              </a:ext>
            </a:extLst>
          </p:cNvPr>
          <p:cNvSpPr txBox="1"/>
          <p:nvPr userDrawn="1"/>
        </p:nvSpPr>
        <p:spPr>
          <a:xfrm>
            <a:off x="4321370" y="802745"/>
            <a:ext cx="167316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02DBDA-700C-4979-B00F-3477C099D042}"/>
              </a:ext>
            </a:extLst>
          </p:cNvPr>
          <p:cNvSpPr txBox="1"/>
          <p:nvPr userDrawn="1"/>
        </p:nvSpPr>
        <p:spPr>
          <a:xfrm>
            <a:off x="5969842" y="802745"/>
            <a:ext cx="25031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4DFC3E-51E5-47BE-BA81-FDAED74D8117}"/>
              </a:ext>
            </a:extLst>
          </p:cNvPr>
          <p:cNvSpPr txBox="1"/>
          <p:nvPr userDrawn="1"/>
        </p:nvSpPr>
        <p:spPr>
          <a:xfrm>
            <a:off x="4321027" y="801689"/>
            <a:ext cx="167385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554A3A-EA16-0B57-23E8-1F0302BCB04E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b="0" noProof="0" smtClean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b="0" noProof="0">
              <a:solidFill>
                <a:schemeClr val="tx1"/>
              </a:solidFill>
              <a:latin typeface="+mj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0891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1" r:id="rId1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2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>
          <p15:clr>
            <a:srgbClr val="F26B43"/>
          </p15:clr>
        </p15:guide>
        <p15:guide id="49" orient="horz" pos="432">
          <p15:clr>
            <a:srgbClr val="F26B43"/>
          </p15:clr>
        </p15:guide>
        <p15:guide id="68" orient="horz" pos="4104">
          <p15:clr>
            <a:srgbClr val="F26B43"/>
          </p15:clr>
        </p15:guide>
        <p15:guide id="69" orient="horz" pos="2088">
          <p15:clr>
            <a:srgbClr val="F26B43"/>
          </p15:clr>
        </p15:guide>
        <p15:guide id="70" orient="horz" pos="1080">
          <p15:clr>
            <a:srgbClr val="F26B43"/>
          </p15:clr>
        </p15:guide>
        <p15:guide id="71" orient="horz" pos="216">
          <p15:clr>
            <a:srgbClr val="F26B43"/>
          </p15:clr>
        </p15:guide>
        <p15:guide id="72" pos="3840">
          <p15:clr>
            <a:srgbClr val="F26B43"/>
          </p15:clr>
        </p15:guide>
        <p15:guide id="73" pos="3936">
          <p15:clr>
            <a:srgbClr val="F26B43"/>
          </p15:clr>
        </p15:guide>
        <p15:guide id="74" pos="288">
          <p15:clr>
            <a:srgbClr val="F26B43"/>
          </p15:clr>
        </p15:guide>
        <p15:guide id="75" pos="4960">
          <p15:clr>
            <a:srgbClr val="F26B43"/>
          </p15:clr>
        </p15:guide>
        <p15:guide id="76" pos="3744">
          <p15:clr>
            <a:srgbClr val="F26B43"/>
          </p15:clr>
        </p15:guide>
        <p15:guide id="77" pos="2720">
          <p15:clr>
            <a:srgbClr val="F26B43"/>
          </p15:clr>
        </p15:guide>
        <p15:guide id="78" pos="2528">
          <p15:clr>
            <a:srgbClr val="F26B43"/>
          </p15:clr>
        </p15:guide>
        <p15:guide id="79" pos="1312">
          <p15:clr>
            <a:srgbClr val="F26B43"/>
          </p15:clr>
        </p15:guide>
        <p15:guide id="80" pos="1504">
          <p15:clr>
            <a:srgbClr val="F26B43"/>
          </p15:clr>
        </p15:guide>
        <p15:guide id="81" pos="5152">
          <p15:clr>
            <a:srgbClr val="F26B43"/>
          </p15:clr>
        </p15:guide>
        <p15:guide id="82" pos="6176">
          <p15:clr>
            <a:srgbClr val="F26B43"/>
          </p15:clr>
        </p15:guide>
        <p15:guide id="83" pos="6368">
          <p15:clr>
            <a:srgbClr val="F26B43"/>
          </p15:clr>
        </p15:guide>
        <p15:guide id="84" pos="7392">
          <p15:clr>
            <a:srgbClr val="F26B43"/>
          </p15:clr>
        </p15:guide>
        <p15:guide id="85" orient="horz" pos="218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206429901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A35A5D5-FD12-4A0E-B47E-3D53D008B26B}"/>
              </a:ext>
            </a:extLst>
          </p:cNvPr>
          <p:cNvSpPr txBox="1"/>
          <p:nvPr userDrawn="1"/>
        </p:nvSpPr>
        <p:spPr>
          <a:xfrm>
            <a:off x="4065081" y="699568"/>
            <a:ext cx="254000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3FEAD1B-5DFB-4123-913B-D7D5838C8C6D}"/>
              </a:ext>
            </a:extLst>
          </p:cNvPr>
          <p:cNvSpPr txBox="1"/>
          <p:nvPr userDrawn="1"/>
        </p:nvSpPr>
        <p:spPr>
          <a:xfrm>
            <a:off x="4321370" y="802745"/>
            <a:ext cx="167316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02DBDA-700C-4979-B00F-3477C099D042}"/>
              </a:ext>
            </a:extLst>
          </p:cNvPr>
          <p:cNvSpPr txBox="1"/>
          <p:nvPr userDrawn="1"/>
        </p:nvSpPr>
        <p:spPr>
          <a:xfrm>
            <a:off x="5969842" y="802745"/>
            <a:ext cx="25031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4DFC3E-51E5-47BE-BA81-FDAED74D8117}"/>
              </a:ext>
            </a:extLst>
          </p:cNvPr>
          <p:cNvSpPr txBox="1"/>
          <p:nvPr userDrawn="1"/>
        </p:nvSpPr>
        <p:spPr>
          <a:xfrm>
            <a:off x="4321027" y="801689"/>
            <a:ext cx="167385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554A3A-EA16-0B57-23E8-1F0302BCB04E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b="0" noProof="0" smtClean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b="0" noProof="0">
              <a:solidFill>
                <a:schemeClr val="tx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563A5A-0D89-93E3-2FE1-E79578F777FE}"/>
              </a:ext>
            </a:extLst>
          </p:cNvPr>
          <p:cNvSpPr txBox="1"/>
          <p:nvPr userDrawn="1"/>
        </p:nvSpPr>
        <p:spPr>
          <a:xfrm>
            <a:off x="6485817" y="6477001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LASSIFICATION: CONFIDENTIAL – FOR INTERNAL USE ONLY</a:t>
            </a:r>
            <a:endParaRPr lang="en-US" sz="800" b="0" noProof="0">
              <a:solidFill>
                <a:schemeClr val="tx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744F72-9350-7A53-8258-8356F03CCAF3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0" algn="r">
              <a:spcBef>
                <a:spcPts val="0"/>
              </a:spcBef>
              <a:buSzPct val="100000"/>
              <a:buFont typeface="Arial"/>
              <a:buNone/>
              <a:defRPr sz="900" b="0" i="0" u="none" strike="noStrik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/>
            <a:r>
              <a:rPr lang="en-US" sz="800" b="0">
                <a:solidFill>
                  <a:schemeClr val="tx1"/>
                </a:solidFill>
              </a:rPr>
              <a:t>Copyright © 2025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98437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8" r:id="rId1"/>
    <p:sldLayoutId id="2147484249" r:id="rId2"/>
    <p:sldLayoutId id="2147484250" r:id="rId3"/>
    <p:sldLayoutId id="2147484251" r:id="rId4"/>
    <p:sldLayoutId id="2147484252" r:id="rId5"/>
    <p:sldLayoutId id="2147484253" r:id="rId6"/>
    <p:sldLayoutId id="2147484254" r:id="rId7"/>
    <p:sldLayoutId id="2147484255" r:id="rId8"/>
    <p:sldLayoutId id="2147484256" r:id="rId9"/>
    <p:sldLayoutId id="2147484257" r:id="rId10"/>
    <p:sldLayoutId id="2147484258" r:id="rId11"/>
    <p:sldLayoutId id="2147484259" r:id="rId12"/>
    <p:sldLayoutId id="2147484260" r:id="rId13"/>
    <p:sldLayoutId id="2147484261" r:id="rId14"/>
    <p:sldLayoutId id="2147484262" r:id="rId15"/>
    <p:sldLayoutId id="2147484263" r:id="rId16"/>
    <p:sldLayoutId id="2147484264" r:id="rId17"/>
    <p:sldLayoutId id="2147484265" r:id="rId18"/>
    <p:sldLayoutId id="2147484266" r:id="rId19"/>
    <p:sldLayoutId id="2147484267" r:id="rId20"/>
    <p:sldLayoutId id="2147484268" r:id="rId21"/>
    <p:sldLayoutId id="2147484269" r:id="rId22"/>
    <p:sldLayoutId id="2147484270" r:id="rId23"/>
    <p:sldLayoutId id="2147484271" r:id="rId24"/>
    <p:sldLayoutId id="2147484272" r:id="rId25"/>
    <p:sldLayoutId id="2147484273" r:id="rId26"/>
    <p:sldLayoutId id="2147484274" r:id="rId27"/>
    <p:sldLayoutId id="2147484275" r:id="rId28"/>
    <p:sldLayoutId id="2147484276" r:id="rId29"/>
    <p:sldLayoutId id="2147484277" r:id="rId30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2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>
          <p15:clr>
            <a:srgbClr val="F26B43"/>
          </p15:clr>
        </p15:guide>
        <p15:guide id="49" orient="horz" pos="432">
          <p15:clr>
            <a:srgbClr val="F26B43"/>
          </p15:clr>
        </p15:guide>
        <p15:guide id="68" orient="horz" pos="4104">
          <p15:clr>
            <a:srgbClr val="F26B43"/>
          </p15:clr>
        </p15:guide>
        <p15:guide id="69" orient="horz" pos="2088">
          <p15:clr>
            <a:srgbClr val="F26B43"/>
          </p15:clr>
        </p15:guide>
        <p15:guide id="70" orient="horz" pos="1080">
          <p15:clr>
            <a:srgbClr val="F26B43"/>
          </p15:clr>
        </p15:guide>
        <p15:guide id="71" orient="horz" pos="216">
          <p15:clr>
            <a:srgbClr val="F26B43"/>
          </p15:clr>
        </p15:guide>
        <p15:guide id="72" pos="3840">
          <p15:clr>
            <a:srgbClr val="F26B43"/>
          </p15:clr>
        </p15:guide>
        <p15:guide id="73" pos="3936">
          <p15:clr>
            <a:srgbClr val="F26B43"/>
          </p15:clr>
        </p15:guide>
        <p15:guide id="74" pos="288">
          <p15:clr>
            <a:srgbClr val="F26B43"/>
          </p15:clr>
        </p15:guide>
        <p15:guide id="75" pos="4960">
          <p15:clr>
            <a:srgbClr val="F26B43"/>
          </p15:clr>
        </p15:guide>
        <p15:guide id="76" pos="3744">
          <p15:clr>
            <a:srgbClr val="F26B43"/>
          </p15:clr>
        </p15:guide>
        <p15:guide id="77" pos="2720">
          <p15:clr>
            <a:srgbClr val="F26B43"/>
          </p15:clr>
        </p15:guide>
        <p15:guide id="78" pos="2528">
          <p15:clr>
            <a:srgbClr val="F26B43"/>
          </p15:clr>
        </p15:guide>
        <p15:guide id="79" pos="1312">
          <p15:clr>
            <a:srgbClr val="F26B43"/>
          </p15:clr>
        </p15:guide>
        <p15:guide id="80" pos="1504">
          <p15:clr>
            <a:srgbClr val="F26B43"/>
          </p15:clr>
        </p15:guide>
        <p15:guide id="81" pos="5152">
          <p15:clr>
            <a:srgbClr val="F26B43"/>
          </p15:clr>
        </p15:guide>
        <p15:guide id="82" pos="6176">
          <p15:clr>
            <a:srgbClr val="F26B43"/>
          </p15:clr>
        </p15:guide>
        <p15:guide id="83" pos="6368">
          <p15:clr>
            <a:srgbClr val="F26B43"/>
          </p15:clr>
        </p15:guide>
        <p15:guide id="84" pos="7392">
          <p15:clr>
            <a:srgbClr val="F26B43"/>
          </p15:clr>
        </p15:guide>
        <p15:guide id="85" orient="horz" pos="21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BC88F86F-3F7F-2686-D552-4A292409C438}"/>
              </a:ext>
            </a:extLst>
          </p:cNvPr>
          <p:cNvSpPr txBox="1">
            <a:spLocks/>
          </p:cNvSpPr>
          <p:nvPr/>
        </p:nvSpPr>
        <p:spPr>
          <a:xfrm>
            <a:off x="463295" y="682941"/>
            <a:ext cx="11271505" cy="3341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i="1">
              <a:latin typeface="+mj-lt"/>
            </a:endParaRPr>
          </a:p>
        </p:txBody>
      </p:sp>
      <p:sp>
        <p:nvSpPr>
          <p:cNvPr id="3" name="Title 8">
            <a:extLst>
              <a:ext uri="{FF2B5EF4-FFF2-40B4-BE49-F238E27FC236}">
                <a16:creationId xmlns:a16="http://schemas.microsoft.com/office/drawing/2014/main" id="{C34EE1C7-7022-E52F-3479-93FEA4F20104}"/>
              </a:ext>
            </a:extLst>
          </p:cNvPr>
          <p:cNvSpPr txBox="1">
            <a:spLocks/>
          </p:cNvSpPr>
          <p:nvPr/>
        </p:nvSpPr>
        <p:spPr>
          <a:xfrm>
            <a:off x="451106" y="66070"/>
            <a:ext cx="11271505" cy="33409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defTabSz="685800">
              <a:spcBef>
                <a:spcPct val="0"/>
              </a:spcBef>
              <a:buNone/>
              <a:defRPr sz="2400" b="1"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U09 – Personalized Learning &amp; Development Recommendation App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C578ACA3-AADC-8C02-A715-D5F3074BF440}"/>
              </a:ext>
            </a:extLst>
          </p:cNvPr>
          <p:cNvSpPr txBox="1">
            <a:spLocks/>
          </p:cNvSpPr>
          <p:nvPr/>
        </p:nvSpPr>
        <p:spPr>
          <a:xfrm>
            <a:off x="6374246" y="1384379"/>
            <a:ext cx="5527929" cy="1731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en-US" sz="1800" b="1" dirty="0">
                <a:solidFill>
                  <a:srgbClr val="0D839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Technology Stack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Backend: Python/.NET, Azure Functions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a Storage: Azure SQL or Cosmos DB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Machine Learning: Azure ML Services or TensorFlow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Frontend: React or Angular (integrated with employee portal)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PIs: Integration Learning &amp; Development Portal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ecurity: Azure AD for authentication and authoriza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F52009C-203E-F9D1-5093-44B75552C131}"/>
              </a:ext>
            </a:extLst>
          </p:cNvPr>
          <p:cNvSpPr txBox="1">
            <a:spLocks/>
          </p:cNvSpPr>
          <p:nvPr/>
        </p:nvSpPr>
        <p:spPr>
          <a:xfrm>
            <a:off x="463295" y="1384379"/>
            <a:ext cx="5527930" cy="19579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en-US" sz="1800" b="1" dirty="0">
                <a:solidFill>
                  <a:srgbClr val="0D839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esign Consideration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Use skill gap analysis to identify relevant learning needs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commend targeted technical and behavioral courses from the L&amp;D Portal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Personalize suggestions based on role-specific requirements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nsure scalability for organization-wide deployment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Provide a user-friendly interface for course recommendations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Maintain data privacy and secure employee information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BB1876E-8859-3EDE-E884-7999A7F95D48}"/>
              </a:ext>
            </a:extLst>
          </p:cNvPr>
          <p:cNvSpPr txBox="1">
            <a:spLocks/>
          </p:cNvSpPr>
          <p:nvPr/>
        </p:nvSpPr>
        <p:spPr>
          <a:xfrm>
            <a:off x="463295" y="3893127"/>
            <a:ext cx="5442858" cy="25579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en-US" sz="1800" b="1" dirty="0">
                <a:solidFill>
                  <a:srgbClr val="0D839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Non-Functional Requirements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ecurity: Encrypt and control access to employee data.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ea typeface="Open Sans" panose="020B0606030504020204" pitchFamily="34" charset="0"/>
                <a:cs typeface="Open Sans" panose="020B0606030504020204" pitchFamily="34" charset="0"/>
              </a:rPr>
              <a:t>Performance: Web: 3s, API: 1–2s, SQL: &lt;500ms.</a:t>
            </a:r>
            <a:endParaRPr lang="en-US" sz="1600" dirty="0"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vailability: 99.9% uptime for recommendations.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Integration: Connect smoothly with HR and L&amp;D systems.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User Experience: Clear, relevant, accessible recommendations.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mpliance: Follow data privacy and usage policies.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028919E-6403-0550-2579-156D07CFA80D}"/>
              </a:ext>
            </a:extLst>
          </p:cNvPr>
          <p:cNvSpPr txBox="1">
            <a:spLocks/>
          </p:cNvSpPr>
          <p:nvPr/>
        </p:nvSpPr>
        <p:spPr>
          <a:xfrm>
            <a:off x="451106" y="461182"/>
            <a:ext cx="11271505" cy="1091648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i="1" dirty="0">
                <a:latin typeface="+mj-lt"/>
              </a:rPr>
              <a:t>Problem Statement –  Build an agent that analyzes an employee’s current role and responsibilities to identify skill gaps and recommend relevant technical and behavioral courses from the Learning &amp; Development Portal. Recommendations are tailored to support ongoing growth and performance.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C189B4-F73A-5839-D077-63290EE73F94}"/>
              </a:ext>
            </a:extLst>
          </p:cNvPr>
          <p:cNvSpPr txBox="1">
            <a:spLocks/>
          </p:cNvSpPr>
          <p:nvPr/>
        </p:nvSpPr>
        <p:spPr>
          <a:xfrm>
            <a:off x="6374247" y="3893127"/>
            <a:ext cx="5442858" cy="23157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en-US" sz="1800" b="1" dirty="0">
                <a:solidFill>
                  <a:srgbClr val="0D839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Outcomes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Personalized course recommendations for each role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Proactive skill gap identification and resolution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Higher engagement with the L&amp;D Portal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Improved employee growth and performance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calable for organizational growth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Intuitive and user-friendly recommendations</a:t>
            </a:r>
          </a:p>
          <a:p>
            <a:pPr marL="27432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ployee data remains secur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4512999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T-US">
  <a:themeElements>
    <a:clrScheme name="DT-US">
      <a:dk1>
        <a:sysClr val="windowText" lastClr="000000"/>
      </a:dk1>
      <a:lt1>
        <a:sysClr val="window" lastClr="FFFFFF"/>
      </a:lt1>
      <a:dk2>
        <a:srgbClr val="D0D0CE"/>
      </a:dk2>
      <a:lt2>
        <a:srgbClr val="75787B"/>
      </a:lt2>
      <a:accent1>
        <a:srgbClr val="0D8390"/>
      </a:accent1>
      <a:accent2>
        <a:srgbClr val="6FC2B4"/>
      </a:accent2>
      <a:accent3>
        <a:srgbClr val="007CB0"/>
      </a:accent3>
      <a:accent4>
        <a:srgbClr val="012169"/>
      </a:accent4>
      <a:accent5>
        <a:srgbClr val="00ABAB"/>
      </a:accent5>
      <a:accent6>
        <a:srgbClr val="DDEFE8"/>
      </a:accent6>
      <a:hlink>
        <a:srgbClr val="0D8390"/>
      </a:hlink>
      <a:folHlink>
        <a:srgbClr val="43B049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2.xml><?xml version="1.0" encoding="utf-8"?>
<a:theme xmlns:a="http://schemas.openxmlformats.org/drawingml/2006/main" name="DT-US">
  <a:themeElements>
    <a:clrScheme name="DT-US">
      <a:dk1>
        <a:sysClr val="windowText" lastClr="000000"/>
      </a:dk1>
      <a:lt1>
        <a:sysClr val="window" lastClr="FFFFFF"/>
      </a:lt1>
      <a:dk2>
        <a:srgbClr val="D0D0CE"/>
      </a:dk2>
      <a:lt2>
        <a:srgbClr val="75787B"/>
      </a:lt2>
      <a:accent1>
        <a:srgbClr val="0D8390"/>
      </a:accent1>
      <a:accent2>
        <a:srgbClr val="6FC2B4"/>
      </a:accent2>
      <a:accent3>
        <a:srgbClr val="007CB0"/>
      </a:accent3>
      <a:accent4>
        <a:srgbClr val="012169"/>
      </a:accent4>
      <a:accent5>
        <a:srgbClr val="00ABAB"/>
      </a:accent5>
      <a:accent6>
        <a:srgbClr val="DDEFE8"/>
      </a:accent6>
      <a:hlink>
        <a:srgbClr val="0D8390"/>
      </a:hlink>
      <a:folHlink>
        <a:srgbClr val="43B049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4C98F44B81B541B27D72C78385AC96" ma:contentTypeVersion="3" ma:contentTypeDescription="Create a new document." ma:contentTypeScope="" ma:versionID="99e741e6dcef886fcc88f192de150fe2">
  <xsd:schema xmlns:xsd="http://www.w3.org/2001/XMLSchema" xmlns:xs="http://www.w3.org/2001/XMLSchema" xmlns:p="http://schemas.microsoft.com/office/2006/metadata/properties" xmlns:ns2="98f62573-bc7f-4c03-9faf-e84dc8399d11" targetNamespace="http://schemas.microsoft.com/office/2006/metadata/properties" ma:root="true" ma:fieldsID="45d9115f324d048a8fc667b1ed418dfe" ns2:_="">
    <xsd:import namespace="98f62573-bc7f-4c03-9faf-e84dc8399d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f62573-bc7f-4c03-9faf-e84dc8399d1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3445523-F3ED-4408-8C4B-A3CC97C40796}"/>
</file>

<file path=customXml/itemProps2.xml><?xml version="1.0" encoding="utf-8"?>
<ds:datastoreItem xmlns:ds="http://schemas.openxmlformats.org/officeDocument/2006/customXml" ds:itemID="{FD68367D-360F-4DB3-BC05-56C1046448DE}">
  <ds:schemaRefs>
    <ds:schemaRef ds:uri="http://www.w3.org/XML/1998/namespace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purl.org/dc/terms/"/>
    <ds:schemaRef ds:uri="http://schemas.microsoft.com/office/2006/metadata/properties"/>
    <ds:schemaRef ds:uri="http://schemas.microsoft.com/office/infopath/2007/PartnerControls"/>
    <ds:schemaRef ds:uri="883fbb98-b8d1-4dd4-8ea2-9891b54a870f"/>
    <ds:schemaRef ds:uri="ba4d1bd9-f69a-4b43-8871-67dc73e10972"/>
  </ds:schemaRefs>
</ds:datastoreItem>
</file>

<file path=customXml/itemProps3.xml><?xml version="1.0" encoding="utf-8"?>
<ds:datastoreItem xmlns:ds="http://schemas.openxmlformats.org/officeDocument/2006/customXml" ds:itemID="{84218E5B-7891-4D7E-ADBC-9F75935F28CA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32</TotalTime>
  <Words>557</Words>
  <Application>Microsoft Office PowerPoint</Application>
  <PresentationFormat>Widescreen</PresentationFormat>
  <Paragraphs>4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Open Sans</vt:lpstr>
      <vt:lpstr>Verdana</vt:lpstr>
      <vt:lpstr>Wingdings 2</vt:lpstr>
      <vt:lpstr>1_DT-US</vt:lpstr>
      <vt:lpstr>DT-US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to add title</dc:title>
  <dc:creator>pdamaraju@deloitte.com</dc:creator>
  <cp:lastModifiedBy>Kanagasundaram, Senthil</cp:lastModifiedBy>
  <cp:revision>52</cp:revision>
  <dcterms:created xsi:type="dcterms:W3CDTF">2023-09-27T20:59:04Z</dcterms:created>
  <dcterms:modified xsi:type="dcterms:W3CDTF">2025-06-19T03:3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9-27T20:59:04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72b40343-c5f7-4539-8b9c-f658c97ff7db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EC4C98F44B81B541B27D72C78385AC96</vt:lpwstr>
  </property>
  <property fmtid="{D5CDD505-2E9C-101B-9397-08002B2CF9AE}" pid="10" name="MediaServiceImageTags">
    <vt:lpwstr/>
  </property>
</Properties>
</file>